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</p:sldIdLst>
  <p:sldSz cx="12192000" cy="6858000"/>
  <p:notesSz cx="6858000" cy="9144000"/>
  <p:custDataLst>
    <p:tags r:id="rId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6" userDrawn="1">
          <p15:clr>
            <a:srgbClr val="A4A3A4"/>
          </p15:clr>
        </p15:guide>
        <p15:guide id="2" pos="480" userDrawn="1">
          <p15:clr>
            <a:srgbClr val="A4A3A4"/>
          </p15:clr>
        </p15:guide>
        <p15:guide id="4" pos="7480" userDrawn="1">
          <p15:clr>
            <a:srgbClr val="A4A3A4"/>
          </p15:clr>
        </p15:guide>
        <p15:guide id="5" orient="horz" pos="4133" userDrawn="1">
          <p15:clr>
            <a:srgbClr val="A4A3A4"/>
          </p15:clr>
        </p15:guide>
        <p15:guide id="6" orient="horz" pos="102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C814"/>
    <a:srgbClr val="0F6B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12620C-F851-4B57-A741-1ED7971BAC6C}" v="132" dt="2023-03-08T16:48:10.0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>
        <p:scale>
          <a:sx n="102" d="100"/>
          <a:sy n="102" d="100"/>
        </p:scale>
        <p:origin x="870" y="96"/>
      </p:cViewPr>
      <p:guideLst>
        <p:guide orient="horz" pos="296"/>
        <p:guide pos="480"/>
        <p:guide pos="7480"/>
        <p:guide orient="horz" pos="4133"/>
        <p:guide orient="horz" pos="102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ndgren Gestlöf, Johanna" userId="d43d54c6-3ac6-49c5-a060-2ab65d401f25" providerId="ADAL" clId="{FC12620C-F851-4B57-A741-1ED7971BAC6C}"/>
    <pc:docChg chg="undo custSel addSld delSld modSld replTag">
      <pc:chgData name="Lundgren Gestlöf, Johanna" userId="d43d54c6-3ac6-49c5-a060-2ab65d401f25" providerId="ADAL" clId="{FC12620C-F851-4B57-A741-1ED7971BAC6C}" dt="2023-03-08T16:48:45.201" v="342" actId="1076"/>
      <pc:docMkLst>
        <pc:docMk/>
      </pc:docMkLst>
      <pc:sldChg chg="addSp delSp modSp add del mod">
        <pc:chgData name="Lundgren Gestlöf, Johanna" userId="d43d54c6-3ac6-49c5-a060-2ab65d401f25" providerId="ADAL" clId="{FC12620C-F851-4B57-A741-1ED7971BAC6C}" dt="2023-03-08T16:48:45.201" v="342" actId="1076"/>
        <pc:sldMkLst>
          <pc:docMk/>
          <pc:sldMk cId="3486227956" sldId="256"/>
        </pc:sldMkLst>
        <pc:spChg chg="add del mod modVis">
          <ac:chgData name="Lundgren Gestlöf, Johanna" userId="d43d54c6-3ac6-49c5-a060-2ab65d401f25" providerId="ADAL" clId="{FC12620C-F851-4B57-A741-1ED7971BAC6C}" dt="2023-03-08T16:45:31.165" v="221"/>
          <ac:spMkLst>
            <pc:docMk/>
            <pc:sldMk cId="3486227956" sldId="256"/>
            <ac:spMk id="2" creationId="{D3E3F5F6-CD0D-CF0F-504D-792F95A4DA0C}"/>
          </ac:spMkLst>
        </pc:spChg>
        <pc:spChg chg="mod ord">
          <ac:chgData name="Lundgren Gestlöf, Johanna" userId="d43d54c6-3ac6-49c5-a060-2ab65d401f25" providerId="ADAL" clId="{FC12620C-F851-4B57-A741-1ED7971BAC6C}" dt="2023-03-08T16:48:45.201" v="342" actId="1076"/>
          <ac:spMkLst>
            <pc:docMk/>
            <pc:sldMk cId="3486227956" sldId="256"/>
            <ac:spMk id="6" creationId="{EFE7C984-0784-40A3-8175-A8DE82DBBD7A}"/>
          </ac:spMkLst>
        </pc:spChg>
        <pc:spChg chg="add mod">
          <ac:chgData name="Lundgren Gestlöf, Johanna" userId="d43d54c6-3ac6-49c5-a060-2ab65d401f25" providerId="ADAL" clId="{FC12620C-F851-4B57-A741-1ED7971BAC6C}" dt="2023-03-08T16:48:45.201" v="342" actId="1076"/>
          <ac:spMkLst>
            <pc:docMk/>
            <pc:sldMk cId="3486227956" sldId="256"/>
            <ac:spMk id="7" creationId="{BCE2B26A-5432-13DF-DA30-15C8D72155CE}"/>
          </ac:spMkLst>
        </pc:spChg>
        <pc:spChg chg="add mod">
          <ac:chgData name="Lundgren Gestlöf, Johanna" userId="d43d54c6-3ac6-49c5-a060-2ab65d401f25" providerId="ADAL" clId="{FC12620C-F851-4B57-A741-1ED7971BAC6C}" dt="2023-03-08T16:48:45.201" v="342" actId="1076"/>
          <ac:spMkLst>
            <pc:docMk/>
            <pc:sldMk cId="3486227956" sldId="256"/>
            <ac:spMk id="8" creationId="{10E598BA-1BE1-FB15-E5A4-E6BB10F560F8}"/>
          </ac:spMkLst>
        </pc:spChg>
        <pc:spChg chg="mod ord">
          <ac:chgData name="Lundgren Gestlöf, Johanna" userId="d43d54c6-3ac6-49c5-a060-2ab65d401f25" providerId="ADAL" clId="{FC12620C-F851-4B57-A741-1ED7971BAC6C}" dt="2023-03-08T16:45:36.254" v="270"/>
          <ac:spMkLst>
            <pc:docMk/>
            <pc:sldMk cId="3486227956" sldId="256"/>
            <ac:spMk id="9" creationId="{62BB8A1D-F4C0-4609-BECF-CA9B956306E1}"/>
          </ac:spMkLst>
        </pc:spChg>
        <pc:spChg chg="del mod">
          <ac:chgData name="Lundgren Gestlöf, Johanna" userId="d43d54c6-3ac6-49c5-a060-2ab65d401f25" providerId="ADAL" clId="{FC12620C-F851-4B57-A741-1ED7971BAC6C}" dt="2023-03-08T16:47:16.480" v="317"/>
          <ac:spMkLst>
            <pc:docMk/>
            <pc:sldMk cId="3486227956" sldId="256"/>
            <ac:spMk id="10" creationId="{DC33FD9F-0CBC-4CF3-BB6E-9EE6CA2BD0D0}"/>
          </ac:spMkLst>
        </pc:spChg>
        <pc:spChg chg="del mod">
          <ac:chgData name="Lundgren Gestlöf, Johanna" userId="d43d54c6-3ac6-49c5-a060-2ab65d401f25" providerId="ADAL" clId="{FC12620C-F851-4B57-A741-1ED7971BAC6C}" dt="2023-03-08T16:47:14.642" v="306"/>
          <ac:spMkLst>
            <pc:docMk/>
            <pc:sldMk cId="3486227956" sldId="256"/>
            <ac:spMk id="11" creationId="{7F2783C6-FEAF-49E2-86E9-8411DF329902}"/>
          </ac:spMkLst>
        </pc:spChg>
        <pc:spChg chg="del mod">
          <ac:chgData name="Lundgren Gestlöf, Johanna" userId="d43d54c6-3ac6-49c5-a060-2ab65d401f25" providerId="ADAL" clId="{FC12620C-F851-4B57-A741-1ED7971BAC6C}" dt="2023-03-08T16:47:16.479" v="315"/>
          <ac:spMkLst>
            <pc:docMk/>
            <pc:sldMk cId="3486227956" sldId="256"/>
            <ac:spMk id="12" creationId="{DC33FD9F-0CBC-4CF3-BB6E-9EE6CA2BD0D0}"/>
          </ac:spMkLst>
        </pc:spChg>
        <pc:spChg chg="del mod">
          <ac:chgData name="Lundgren Gestlöf, Johanna" userId="d43d54c6-3ac6-49c5-a060-2ab65d401f25" providerId="ADAL" clId="{FC12620C-F851-4B57-A741-1ED7971BAC6C}" dt="2023-03-08T16:47:16.476" v="313"/>
          <ac:spMkLst>
            <pc:docMk/>
            <pc:sldMk cId="3486227956" sldId="256"/>
            <ac:spMk id="13" creationId="{DC33FD9F-0CBC-4CF3-BB6E-9EE6CA2BD0D0}"/>
          </ac:spMkLst>
        </pc:spChg>
        <pc:spChg chg="del mod">
          <ac:chgData name="Lundgren Gestlöf, Johanna" userId="d43d54c6-3ac6-49c5-a060-2ab65d401f25" providerId="ADAL" clId="{FC12620C-F851-4B57-A741-1ED7971BAC6C}" dt="2023-03-08T16:47:14.643" v="307"/>
          <ac:spMkLst>
            <pc:docMk/>
            <pc:sldMk cId="3486227956" sldId="256"/>
            <ac:spMk id="14" creationId="{DC33FD9F-0CBC-4CF3-BB6E-9EE6CA2BD0D0}"/>
          </ac:spMkLst>
        </pc:spChg>
        <pc:spChg chg="del mod">
          <ac:chgData name="Lundgren Gestlöf, Johanna" userId="d43d54c6-3ac6-49c5-a060-2ab65d401f25" providerId="ADAL" clId="{FC12620C-F851-4B57-A741-1ED7971BAC6C}" dt="2023-03-08T16:47:14.642" v="305"/>
          <ac:spMkLst>
            <pc:docMk/>
            <pc:sldMk cId="3486227956" sldId="256"/>
            <ac:spMk id="15" creationId="{DC33FD9F-0CBC-4CF3-BB6E-9EE6CA2BD0D0}"/>
          </ac:spMkLst>
        </pc:spChg>
        <pc:spChg chg="del mod">
          <ac:chgData name="Lundgren Gestlöf, Johanna" userId="d43d54c6-3ac6-49c5-a060-2ab65d401f25" providerId="ADAL" clId="{FC12620C-F851-4B57-A741-1ED7971BAC6C}" dt="2023-03-08T16:47:14.639" v="303"/>
          <ac:spMkLst>
            <pc:docMk/>
            <pc:sldMk cId="3486227956" sldId="256"/>
            <ac:spMk id="16" creationId="{DC33FD9F-0CBC-4CF3-BB6E-9EE6CA2BD0D0}"/>
          </ac:spMkLst>
        </pc:spChg>
        <pc:spChg chg="del mod">
          <ac:chgData name="Lundgren Gestlöf, Johanna" userId="d43d54c6-3ac6-49c5-a060-2ab65d401f25" providerId="ADAL" clId="{FC12620C-F851-4B57-A741-1ED7971BAC6C}" dt="2023-03-08T16:47:16.479" v="316"/>
          <ac:spMkLst>
            <pc:docMk/>
            <pc:sldMk cId="3486227956" sldId="256"/>
            <ac:spMk id="17" creationId="{DC33FD9F-0CBC-4CF3-BB6E-9EE6CA2BD0D0}"/>
          </ac:spMkLst>
        </pc:spChg>
        <pc:spChg chg="del mod">
          <ac:chgData name="Lundgren Gestlöf, Johanna" userId="d43d54c6-3ac6-49c5-a060-2ab65d401f25" providerId="ADAL" clId="{FC12620C-F851-4B57-A741-1ED7971BAC6C}" dt="2023-03-08T16:47:16.478" v="314"/>
          <ac:spMkLst>
            <pc:docMk/>
            <pc:sldMk cId="3486227956" sldId="256"/>
            <ac:spMk id="18" creationId="{DC33FD9F-0CBC-4CF3-BB6E-9EE6CA2BD0D0}"/>
          </ac:spMkLst>
        </pc:spChg>
        <pc:spChg chg="del mod">
          <ac:chgData name="Lundgren Gestlöf, Johanna" userId="d43d54c6-3ac6-49c5-a060-2ab65d401f25" providerId="ADAL" clId="{FC12620C-F851-4B57-A741-1ED7971BAC6C}" dt="2023-03-08T16:47:16.475" v="312"/>
          <ac:spMkLst>
            <pc:docMk/>
            <pc:sldMk cId="3486227956" sldId="256"/>
            <ac:spMk id="19" creationId="{DC33FD9F-0CBC-4CF3-BB6E-9EE6CA2BD0D0}"/>
          </ac:spMkLst>
        </pc:spChg>
        <pc:spChg chg="del mod">
          <ac:chgData name="Lundgren Gestlöf, Johanna" userId="d43d54c6-3ac6-49c5-a060-2ab65d401f25" providerId="ADAL" clId="{FC12620C-F851-4B57-A741-1ED7971BAC6C}" dt="2023-03-08T16:47:14.641" v="304"/>
          <ac:spMkLst>
            <pc:docMk/>
            <pc:sldMk cId="3486227956" sldId="256"/>
            <ac:spMk id="22" creationId="{6A0CCD04-9E66-47BF-8C6A-CE95E8C30497}"/>
          </ac:spMkLst>
        </pc:spChg>
        <pc:spChg chg="del mod">
          <ac:chgData name="Lundgren Gestlöf, Johanna" userId="d43d54c6-3ac6-49c5-a060-2ab65d401f25" providerId="ADAL" clId="{FC12620C-F851-4B57-A741-1ED7971BAC6C}" dt="2023-03-08T16:47:14.638" v="302"/>
          <ac:spMkLst>
            <pc:docMk/>
            <pc:sldMk cId="3486227956" sldId="256"/>
            <ac:spMk id="24" creationId="{6A67EB3E-93F3-4BEE-ADF3-C8FA3AEB144F}"/>
          </ac:spMkLst>
        </pc:spChg>
        <pc:graphicFrameChg chg="add del mod replST">
          <ac:chgData name="Lundgren Gestlöf, Johanna" userId="d43d54c6-3ac6-49c5-a060-2ab65d401f25" providerId="ADAL" clId="{FC12620C-F851-4B57-A741-1ED7971BAC6C}" dt="2023-03-08T16:45:36.235" v="259"/>
          <ac:graphicFrameMkLst>
            <pc:docMk/>
            <pc:sldMk cId="3486227956" sldId="256"/>
            <ac:graphicFrameMk id="3" creationId="{CCF43734-74D2-7738-5BE6-11F71BBF9492}"/>
          </ac:graphicFrameMkLst>
        </pc:graphicFrameChg>
        <pc:graphicFrameChg chg="mod">
          <ac:chgData name="Lundgren Gestlöf, Johanna" userId="d43d54c6-3ac6-49c5-a060-2ab65d401f25" providerId="ADAL" clId="{FC12620C-F851-4B57-A741-1ED7971BAC6C}" dt="2023-03-08T16:47:24.549" v="329"/>
          <ac:graphicFrameMkLst>
            <pc:docMk/>
            <pc:sldMk cId="3486227956" sldId="256"/>
            <ac:graphicFrameMk id="4" creationId="{D2479B63-1DE2-4247-9340-A3C17F519DE9}"/>
          </ac:graphicFrameMkLst>
        </pc:graphicFrameChg>
        <pc:graphicFrameChg chg="add del mod replST">
          <ac:chgData name="Lundgren Gestlöf, Johanna" userId="d43d54c6-3ac6-49c5-a060-2ab65d401f25" providerId="ADAL" clId="{FC12620C-F851-4B57-A741-1ED7971BAC6C}" dt="2023-03-08T16:47:16.483" v="319"/>
          <ac:graphicFrameMkLst>
            <pc:docMk/>
            <pc:sldMk cId="3486227956" sldId="256"/>
            <ac:graphicFrameMk id="5" creationId="{7D76F819-F409-964C-1575-86F7394C181F}"/>
          </ac:graphicFrameMkLst>
        </pc:graphicFrameChg>
        <pc:graphicFrameChg chg="del">
          <ac:chgData name="Lundgren Gestlöf, Johanna" userId="d43d54c6-3ac6-49c5-a060-2ab65d401f25" providerId="ADAL" clId="{FC12620C-F851-4B57-A741-1ED7971BAC6C}" dt="2023-03-08T16:45:31.126" v="193"/>
          <ac:graphicFrameMkLst>
            <pc:docMk/>
            <pc:sldMk cId="3486227956" sldId="256"/>
            <ac:graphicFrameMk id="31" creationId="{0D8AD850-32FD-4081-A791-76E735119D61}"/>
          </ac:graphicFrameMkLst>
        </pc:graphicFrameChg>
        <pc:picChg chg="mod">
          <ac:chgData name="Lundgren Gestlöf, Johanna" userId="d43d54c6-3ac6-49c5-a060-2ab65d401f25" providerId="ADAL" clId="{FC12620C-F851-4B57-A741-1ED7971BAC6C}" dt="2023-03-08T16:46:01.288" v="288" actId="1076"/>
          <ac:picMkLst>
            <pc:docMk/>
            <pc:sldMk cId="3486227956" sldId="256"/>
            <ac:picMk id="1028" creationId="{7898EB4C-A49B-41B9-8D58-9696F1E9A34B}"/>
          </ac:picMkLst>
        </pc:picChg>
      </pc:sldChg>
      <pc:sldChg chg="del">
        <pc:chgData name="Lundgren Gestlöf, Johanna" userId="d43d54c6-3ac6-49c5-a060-2ab65d401f25" providerId="ADAL" clId="{FC12620C-F851-4B57-A741-1ED7971BAC6C}" dt="2023-03-08T16:47:21.256" v="324" actId="47"/>
        <pc:sldMkLst>
          <pc:docMk/>
          <pc:sldMk cId="1509161064" sldId="257"/>
        </pc:sldMkLst>
      </pc:sldChg>
      <pc:sldChg chg="del">
        <pc:chgData name="Lundgren Gestlöf, Johanna" userId="d43d54c6-3ac6-49c5-a060-2ab65d401f25" providerId="ADAL" clId="{FC12620C-F851-4B57-A741-1ED7971BAC6C}" dt="2023-03-08T16:47:23.264" v="325" actId="47"/>
        <pc:sldMkLst>
          <pc:docMk/>
          <pc:sldMk cId="2263211421" sldId="258"/>
        </pc:sldMkLst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4BDE3-6E07-4BFA-B60B-E9F91C69EA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47203B-08B9-4C68-84BC-DFAA0F04E8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5DE093-27DD-4981-9C36-52F092DA55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27A0A0-856D-4B40-B68F-8D65346DD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0F1565-A337-41BA-9D92-A0BE7E9BB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90056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E7109-41D2-436B-ABA1-C5373B2716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949424A-840B-45F6-AB3A-CC254016682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FF3B52-8FB5-4ADB-BE88-3A8B5C758D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763404-15BA-4453-B520-04F87743C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F46D4B-13E6-498F-86EE-D6C4C801B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5059BC-DBC9-42B3-AAD2-1EFA54B79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8785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307EC-076C-4CEB-9FAC-91DCC7E24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92A541-0043-45F3-854D-5C84A3D006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19E73A-8105-468D-9F9A-0341F3473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ADEDEE-A7C3-4E47-8AF0-DD06069C1C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4B9FD4-DBD9-43B2-834F-29C253FCF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438908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B3C688-5E4F-46CE-83A9-31CF0869D1C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221B2EE-2FE0-4526-9C04-F2AEB1ABE9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ED1615-A1D2-461E-B5B1-9DC6B314C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4A25C6-A649-4E3E-B83D-E09F27741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B52CC6-5026-40FB-8823-0E164EEA5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39655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icture 3 circl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5897F539-4998-4F3A-974F-8971EA9C9D05}"/>
              </a:ext>
            </a:extLst>
          </p:cNvPr>
          <p:cNvSpPr/>
          <p:nvPr/>
        </p:nvSpPr>
        <p:spPr>
          <a:xfrm>
            <a:off x="0" y="1115336"/>
            <a:ext cx="12200656" cy="57426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40" name="Friform 39">
            <a:extLst>
              <a:ext uri="{FF2B5EF4-FFF2-40B4-BE49-F238E27FC236}">
                <a16:creationId xmlns:a16="http://schemas.microsoft.com/office/drawing/2014/main" id="{90B0AA4D-713B-F647-880F-22FA178EC2E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73286" y="1117200"/>
            <a:ext cx="7827381" cy="5740800"/>
          </a:xfrm>
          <a:custGeom>
            <a:avLst/>
            <a:gdLst>
              <a:gd name="connsiteX0" fmla="*/ 0 w 5870536"/>
              <a:gd name="connsiteY0" fmla="*/ 0 h 4305600"/>
              <a:gd name="connsiteX1" fmla="*/ 5870536 w 5870536"/>
              <a:gd name="connsiteY1" fmla="*/ 0 h 4305600"/>
              <a:gd name="connsiteX2" fmla="*/ 5870536 w 5870536"/>
              <a:gd name="connsiteY2" fmla="*/ 4305600 h 4305600"/>
              <a:gd name="connsiteX3" fmla="*/ 0 w 5870536"/>
              <a:gd name="connsiteY3" fmla="*/ 4305600 h 4305600"/>
              <a:gd name="connsiteX4" fmla="*/ 0 w 5870536"/>
              <a:gd name="connsiteY4" fmla="*/ 4299135 h 4305600"/>
              <a:gd name="connsiteX5" fmla="*/ 92081 w 5870536"/>
              <a:gd name="connsiteY5" fmla="*/ 4294486 h 4305600"/>
              <a:gd name="connsiteX6" fmla="*/ 2024769 w 5870536"/>
              <a:gd name="connsiteY6" fmla="*/ 2152800 h 4305600"/>
              <a:gd name="connsiteX7" fmla="*/ 92081 w 5870536"/>
              <a:gd name="connsiteY7" fmla="*/ 11115 h 4305600"/>
              <a:gd name="connsiteX8" fmla="*/ 0 w 5870536"/>
              <a:gd name="connsiteY8" fmla="*/ 6465 h 43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70536" h="4305600">
                <a:moveTo>
                  <a:pt x="0" y="0"/>
                </a:moveTo>
                <a:lnTo>
                  <a:pt x="5870536" y="0"/>
                </a:lnTo>
                <a:lnTo>
                  <a:pt x="5870536" y="4305600"/>
                </a:lnTo>
                <a:lnTo>
                  <a:pt x="0" y="4305600"/>
                </a:lnTo>
                <a:lnTo>
                  <a:pt x="0" y="4299135"/>
                </a:lnTo>
                <a:lnTo>
                  <a:pt x="92081" y="4294486"/>
                </a:lnTo>
                <a:cubicBezTo>
                  <a:pt x="1177643" y="4184241"/>
                  <a:pt x="2024769" y="3267449"/>
                  <a:pt x="2024769" y="2152800"/>
                </a:cubicBezTo>
                <a:cubicBezTo>
                  <a:pt x="2024769" y="1038151"/>
                  <a:pt x="1177643" y="121360"/>
                  <a:pt x="92081" y="11115"/>
                </a:cubicBezTo>
                <a:lnTo>
                  <a:pt x="0" y="6465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2160000" tIns="360000" rIns="720000" anchor="t" anchorCtr="1">
            <a:noAutofit/>
          </a:bodyPr>
          <a:lstStyle>
            <a:lvl1pPr marL="0" marR="0" indent="0" algn="r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None/>
              <a:tabLst/>
              <a:defRPr sz="12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None/>
              <a:tabLst/>
              <a:defRPr/>
            </a:pP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r>
              <a:rPr lang="nb-NO"/>
              <a:t> by drag &amp; </a:t>
            </a:r>
            <a:r>
              <a:rPr lang="nb-NO" err="1"/>
              <a:t>drop</a:t>
            </a:r>
            <a:r>
              <a:rPr lang="nb-NO"/>
              <a:t> or </a:t>
            </a:r>
            <a:r>
              <a:rPr lang="nb-NO" err="1"/>
              <a:t>insert</a:t>
            </a:r>
            <a:r>
              <a:rPr lang="nb-NO"/>
              <a:t> </a:t>
            </a:r>
            <a:r>
              <a:rPr lang="nb-NO" err="1"/>
              <a:t>picture</a:t>
            </a:r>
            <a:r>
              <a:rPr lang="nb-NO"/>
              <a:t>. </a:t>
            </a:r>
            <a:r>
              <a:rPr lang="nb-NO" noProof="1"/>
              <a:t>Use picture tools to adjust.</a:t>
            </a:r>
          </a:p>
        </p:txBody>
      </p:sp>
      <p:grpSp>
        <p:nvGrpSpPr>
          <p:cNvPr id="115" name="Gruppe 114">
            <a:extLst>
              <a:ext uri="{FF2B5EF4-FFF2-40B4-BE49-F238E27FC236}">
                <a16:creationId xmlns:a16="http://schemas.microsoft.com/office/drawing/2014/main" id="{41E97E57-5157-4765-A889-FD768F44AD8B}"/>
              </a:ext>
            </a:extLst>
          </p:cNvPr>
          <p:cNvGrpSpPr/>
          <p:nvPr/>
        </p:nvGrpSpPr>
        <p:grpSpPr>
          <a:xfrm>
            <a:off x="0" y="7063717"/>
            <a:ext cx="12192000" cy="240000"/>
            <a:chOff x="0" y="5297788"/>
            <a:chExt cx="9144000" cy="372979"/>
          </a:xfrm>
        </p:grpSpPr>
        <p:cxnSp>
          <p:nvCxnSpPr>
            <p:cNvPr id="116" name="Rett linje 115">
              <a:extLst>
                <a:ext uri="{FF2B5EF4-FFF2-40B4-BE49-F238E27FC236}">
                  <a16:creationId xmlns:a16="http://schemas.microsoft.com/office/drawing/2014/main" id="{CB4EC828-AA64-4B3B-BA7F-3939F0DDCC1D}"/>
                </a:ext>
              </a:extLst>
            </p:cNvPr>
            <p:cNvCxnSpPr/>
            <p:nvPr/>
          </p:nvCxnSpPr>
          <p:spPr>
            <a:xfrm>
              <a:off x="9144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Rett linje 116">
              <a:extLst>
                <a:ext uri="{FF2B5EF4-FFF2-40B4-BE49-F238E27FC236}">
                  <a16:creationId xmlns:a16="http://schemas.microsoft.com/office/drawing/2014/main" id="{FC708BC3-AF6A-4C2A-A040-E7D2584F5679}"/>
                </a:ext>
              </a:extLst>
            </p:cNvPr>
            <p:cNvCxnSpPr/>
            <p:nvPr/>
          </p:nvCxnSpPr>
          <p:spPr>
            <a:xfrm>
              <a:off x="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Rett linje 117">
              <a:extLst>
                <a:ext uri="{FF2B5EF4-FFF2-40B4-BE49-F238E27FC236}">
                  <a16:creationId xmlns:a16="http://schemas.microsoft.com/office/drawing/2014/main" id="{6116CDD8-8FA0-499C-8024-98736A2A45BE}"/>
                </a:ext>
              </a:extLst>
            </p:cNvPr>
            <p:cNvCxnSpPr/>
            <p:nvPr/>
          </p:nvCxnSpPr>
          <p:spPr>
            <a:xfrm>
              <a:off x="4572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Rett linje 118">
              <a:extLst>
                <a:ext uri="{FF2B5EF4-FFF2-40B4-BE49-F238E27FC236}">
                  <a16:creationId xmlns:a16="http://schemas.microsoft.com/office/drawing/2014/main" id="{F87D2C52-DF01-487F-94E1-3B4808498D4C}"/>
                </a:ext>
              </a:extLst>
            </p:cNvPr>
            <p:cNvCxnSpPr/>
            <p:nvPr/>
          </p:nvCxnSpPr>
          <p:spPr>
            <a:xfrm>
              <a:off x="6858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Rett linje 119">
              <a:extLst>
                <a:ext uri="{FF2B5EF4-FFF2-40B4-BE49-F238E27FC236}">
                  <a16:creationId xmlns:a16="http://schemas.microsoft.com/office/drawing/2014/main" id="{D23653C0-3C9E-4DC9-9B20-7CB67F5F9553}"/>
                </a:ext>
              </a:extLst>
            </p:cNvPr>
            <p:cNvCxnSpPr/>
            <p:nvPr/>
          </p:nvCxnSpPr>
          <p:spPr>
            <a:xfrm>
              <a:off x="2286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Rett linje 120">
              <a:extLst>
                <a:ext uri="{FF2B5EF4-FFF2-40B4-BE49-F238E27FC236}">
                  <a16:creationId xmlns:a16="http://schemas.microsoft.com/office/drawing/2014/main" id="{2BD9608F-579A-4E69-946E-738146576D95}"/>
                </a:ext>
              </a:extLst>
            </p:cNvPr>
            <p:cNvCxnSpPr/>
            <p:nvPr/>
          </p:nvCxnSpPr>
          <p:spPr>
            <a:xfrm>
              <a:off x="8001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Rett linje 121">
              <a:extLst>
                <a:ext uri="{FF2B5EF4-FFF2-40B4-BE49-F238E27FC236}">
                  <a16:creationId xmlns:a16="http://schemas.microsoft.com/office/drawing/2014/main" id="{7C61F4DE-2E50-462D-A392-B853CA21D799}"/>
                </a:ext>
              </a:extLst>
            </p:cNvPr>
            <p:cNvCxnSpPr/>
            <p:nvPr/>
          </p:nvCxnSpPr>
          <p:spPr>
            <a:xfrm>
              <a:off x="5715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Rett linje 122">
              <a:extLst>
                <a:ext uri="{FF2B5EF4-FFF2-40B4-BE49-F238E27FC236}">
                  <a16:creationId xmlns:a16="http://schemas.microsoft.com/office/drawing/2014/main" id="{C04DF60F-3682-4D29-A6CE-7D6AAA8FA5CC}"/>
                </a:ext>
              </a:extLst>
            </p:cNvPr>
            <p:cNvCxnSpPr/>
            <p:nvPr/>
          </p:nvCxnSpPr>
          <p:spPr>
            <a:xfrm>
              <a:off x="3429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Rett linje 123">
              <a:extLst>
                <a:ext uri="{FF2B5EF4-FFF2-40B4-BE49-F238E27FC236}">
                  <a16:creationId xmlns:a16="http://schemas.microsoft.com/office/drawing/2014/main" id="{E042CA0E-47DC-47FC-897F-70F70BFB366F}"/>
                </a:ext>
              </a:extLst>
            </p:cNvPr>
            <p:cNvCxnSpPr/>
            <p:nvPr/>
          </p:nvCxnSpPr>
          <p:spPr>
            <a:xfrm>
              <a:off x="1143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Rett linje 124">
              <a:extLst>
                <a:ext uri="{FF2B5EF4-FFF2-40B4-BE49-F238E27FC236}">
                  <a16:creationId xmlns:a16="http://schemas.microsoft.com/office/drawing/2014/main" id="{3863232C-D53F-48D6-A0E7-CC9B4C60E264}"/>
                </a:ext>
              </a:extLst>
            </p:cNvPr>
            <p:cNvCxnSpPr/>
            <p:nvPr/>
          </p:nvCxnSpPr>
          <p:spPr>
            <a:xfrm>
              <a:off x="8572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Rett linje 125">
              <a:extLst>
                <a:ext uri="{FF2B5EF4-FFF2-40B4-BE49-F238E27FC236}">
                  <a16:creationId xmlns:a16="http://schemas.microsoft.com/office/drawing/2014/main" id="{6275ADF1-B804-49A7-96BE-70D8AFECB88C}"/>
                </a:ext>
              </a:extLst>
            </p:cNvPr>
            <p:cNvCxnSpPr/>
            <p:nvPr/>
          </p:nvCxnSpPr>
          <p:spPr>
            <a:xfrm>
              <a:off x="7429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Rett linje 126">
              <a:extLst>
                <a:ext uri="{FF2B5EF4-FFF2-40B4-BE49-F238E27FC236}">
                  <a16:creationId xmlns:a16="http://schemas.microsoft.com/office/drawing/2014/main" id="{6A12681A-6F23-4F31-ACA4-1A2E0006D537}"/>
                </a:ext>
              </a:extLst>
            </p:cNvPr>
            <p:cNvCxnSpPr/>
            <p:nvPr/>
          </p:nvCxnSpPr>
          <p:spPr>
            <a:xfrm>
              <a:off x="6286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Rett linje 127">
              <a:extLst>
                <a:ext uri="{FF2B5EF4-FFF2-40B4-BE49-F238E27FC236}">
                  <a16:creationId xmlns:a16="http://schemas.microsoft.com/office/drawing/2014/main" id="{6CC3DE73-64F8-4D3E-B3A9-935C5F8AA878}"/>
                </a:ext>
              </a:extLst>
            </p:cNvPr>
            <p:cNvCxnSpPr/>
            <p:nvPr/>
          </p:nvCxnSpPr>
          <p:spPr>
            <a:xfrm>
              <a:off x="5143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Rett linje 128">
              <a:extLst>
                <a:ext uri="{FF2B5EF4-FFF2-40B4-BE49-F238E27FC236}">
                  <a16:creationId xmlns:a16="http://schemas.microsoft.com/office/drawing/2014/main" id="{FAC273D9-8153-4188-B7CA-F30670E78B13}"/>
                </a:ext>
              </a:extLst>
            </p:cNvPr>
            <p:cNvCxnSpPr/>
            <p:nvPr/>
          </p:nvCxnSpPr>
          <p:spPr>
            <a:xfrm>
              <a:off x="4000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Rett linje 129">
              <a:extLst>
                <a:ext uri="{FF2B5EF4-FFF2-40B4-BE49-F238E27FC236}">
                  <a16:creationId xmlns:a16="http://schemas.microsoft.com/office/drawing/2014/main" id="{916C3980-C8A1-45C7-AA35-A88DD771F2A1}"/>
                </a:ext>
              </a:extLst>
            </p:cNvPr>
            <p:cNvCxnSpPr/>
            <p:nvPr/>
          </p:nvCxnSpPr>
          <p:spPr>
            <a:xfrm>
              <a:off x="2857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Rett linje 130">
              <a:extLst>
                <a:ext uri="{FF2B5EF4-FFF2-40B4-BE49-F238E27FC236}">
                  <a16:creationId xmlns:a16="http://schemas.microsoft.com/office/drawing/2014/main" id="{E99AC163-1D5E-4BFA-BE31-B64B3B6121BF}"/>
                </a:ext>
              </a:extLst>
            </p:cNvPr>
            <p:cNvCxnSpPr/>
            <p:nvPr/>
          </p:nvCxnSpPr>
          <p:spPr>
            <a:xfrm>
              <a:off x="1714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Rett linje 131">
              <a:extLst>
                <a:ext uri="{FF2B5EF4-FFF2-40B4-BE49-F238E27FC236}">
                  <a16:creationId xmlns:a16="http://schemas.microsoft.com/office/drawing/2014/main" id="{E1A62F24-69EB-4117-B6FE-6407220526C9}"/>
                </a:ext>
              </a:extLst>
            </p:cNvPr>
            <p:cNvCxnSpPr/>
            <p:nvPr/>
          </p:nvCxnSpPr>
          <p:spPr>
            <a:xfrm>
              <a:off x="571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Gruppe 132">
            <a:extLst>
              <a:ext uri="{FF2B5EF4-FFF2-40B4-BE49-F238E27FC236}">
                <a16:creationId xmlns:a16="http://schemas.microsoft.com/office/drawing/2014/main" id="{DD3A4283-61B4-4CE7-98B3-DD15277A1CA4}"/>
              </a:ext>
            </a:extLst>
          </p:cNvPr>
          <p:cNvGrpSpPr/>
          <p:nvPr/>
        </p:nvGrpSpPr>
        <p:grpSpPr>
          <a:xfrm>
            <a:off x="-452097" y="1"/>
            <a:ext cx="240000" cy="5661600"/>
            <a:chOff x="-583532" y="1"/>
            <a:chExt cx="372980" cy="4246200"/>
          </a:xfrm>
        </p:grpSpPr>
        <p:cxnSp>
          <p:nvCxnSpPr>
            <p:cNvPr id="166" name="Rett linje 165">
              <a:extLst>
                <a:ext uri="{FF2B5EF4-FFF2-40B4-BE49-F238E27FC236}">
                  <a16:creationId xmlns:a16="http://schemas.microsoft.com/office/drawing/2014/main" id="{AE79378C-6DE6-4A62-A57A-8ADA616F546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97042" y="-186489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Rett linje 168">
              <a:extLst>
                <a:ext uri="{FF2B5EF4-FFF2-40B4-BE49-F238E27FC236}">
                  <a16:creationId xmlns:a16="http://schemas.microsoft.com/office/drawing/2014/main" id="{DA872C10-59C3-4434-A633-E66C99353B1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97042" y="2239911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Rett linje 169">
              <a:extLst>
                <a:ext uri="{FF2B5EF4-FFF2-40B4-BE49-F238E27FC236}">
                  <a16:creationId xmlns:a16="http://schemas.microsoft.com/office/drawing/2014/main" id="{71B24215-F01A-485B-A939-3F00F3A22D33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18552" y="1105201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Rett linje 170">
              <a:extLst>
                <a:ext uri="{FF2B5EF4-FFF2-40B4-BE49-F238E27FC236}">
                  <a16:creationId xmlns:a16="http://schemas.microsoft.com/office/drawing/2014/main" id="{ADCFBA45-D34E-4289-B179-5626BD5E2E8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18552" y="3531601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Rett linje 171">
              <a:extLst>
                <a:ext uri="{FF2B5EF4-FFF2-40B4-BE49-F238E27FC236}">
                  <a16:creationId xmlns:a16="http://schemas.microsoft.com/office/drawing/2014/main" id="{C8991031-407D-4BDF-A817-F5AE7F4EAEA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3" y="5166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Rett linje 172">
              <a:extLst>
                <a:ext uri="{FF2B5EF4-FFF2-40B4-BE49-F238E27FC236}">
                  <a16:creationId xmlns:a16="http://schemas.microsoft.com/office/drawing/2014/main" id="{7610412E-A155-4674-8251-7706FBEE8D0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2" y="17298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Rett linje 173">
              <a:extLst>
                <a:ext uri="{FF2B5EF4-FFF2-40B4-BE49-F238E27FC236}">
                  <a16:creationId xmlns:a16="http://schemas.microsoft.com/office/drawing/2014/main" id="{B43C8BAA-7CFD-4FF4-A348-82C4B4D4433E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2" y="29430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Rett linje 174">
              <a:extLst>
                <a:ext uri="{FF2B5EF4-FFF2-40B4-BE49-F238E27FC236}">
                  <a16:creationId xmlns:a16="http://schemas.microsoft.com/office/drawing/2014/main" id="{2223CED3-2D78-4D56-9B33-66CAD9F8948A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2" y="41562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Title 1">
            <a:extLst>
              <a:ext uri="{FF2B5EF4-FFF2-40B4-BE49-F238E27FC236}">
                <a16:creationId xmlns:a16="http://schemas.microsoft.com/office/drawing/2014/main" id="{D9CC3CC4-9519-4F39-AF45-4B0686864F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32177" y="1115336"/>
            <a:ext cx="5740800" cy="5742664"/>
          </a:xfrm>
          <a:prstGeom prst="ellipse">
            <a:avLst/>
          </a:prstGeom>
          <a:solidFill>
            <a:schemeClr val="accent2"/>
          </a:solidFill>
        </p:spPr>
        <p:txBody>
          <a:bodyPr lIns="180000" tIns="540000" rIns="180000" bIns="540000" anchor="t">
            <a:normAutofit/>
          </a:bodyPr>
          <a:lstStyle>
            <a:lvl1pPr algn="ctr">
              <a:lnSpc>
                <a:spcPct val="100000"/>
              </a:lnSpc>
              <a:defRPr sz="3333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endParaRPr lang="nb-NO" noProof="0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CCF5EDEC-7BE2-4E2E-A936-F04462A3D2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3240" y="5659087"/>
            <a:ext cx="3074504" cy="530927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subtitle</a:t>
            </a:r>
            <a:r>
              <a:rPr lang="nb-NO" noProof="0"/>
              <a:t>, date and presenter</a:t>
            </a:r>
          </a:p>
        </p:txBody>
      </p:sp>
      <p:pic>
        <p:nvPicPr>
          <p:cNvPr id="37" name="Bilde 36" descr="Et bilde som inneholder pil&#10;&#10;Automatisk generert beskrivelse">
            <a:extLst>
              <a:ext uri="{FF2B5EF4-FFF2-40B4-BE49-F238E27FC236}">
                <a16:creationId xmlns:a16="http://schemas.microsoft.com/office/drawing/2014/main" id="{0775A2FF-8FB0-46BB-A9AE-F40AFDF28C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235" y="465044"/>
            <a:ext cx="1103884" cy="27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301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Picture 3 circl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5897F539-4998-4F3A-974F-8971EA9C9D05}"/>
              </a:ext>
            </a:extLst>
          </p:cNvPr>
          <p:cNvSpPr/>
          <p:nvPr/>
        </p:nvSpPr>
        <p:spPr>
          <a:xfrm>
            <a:off x="1" y="1115336"/>
            <a:ext cx="12191999" cy="57426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grpSp>
        <p:nvGrpSpPr>
          <p:cNvPr id="115" name="Gruppe 114">
            <a:extLst>
              <a:ext uri="{FF2B5EF4-FFF2-40B4-BE49-F238E27FC236}">
                <a16:creationId xmlns:a16="http://schemas.microsoft.com/office/drawing/2014/main" id="{41E97E57-5157-4765-A889-FD768F44AD8B}"/>
              </a:ext>
            </a:extLst>
          </p:cNvPr>
          <p:cNvGrpSpPr/>
          <p:nvPr/>
        </p:nvGrpSpPr>
        <p:grpSpPr>
          <a:xfrm>
            <a:off x="0" y="7063717"/>
            <a:ext cx="12192000" cy="240000"/>
            <a:chOff x="0" y="5297788"/>
            <a:chExt cx="9144000" cy="372979"/>
          </a:xfrm>
        </p:grpSpPr>
        <p:cxnSp>
          <p:nvCxnSpPr>
            <p:cNvPr id="116" name="Rett linje 115">
              <a:extLst>
                <a:ext uri="{FF2B5EF4-FFF2-40B4-BE49-F238E27FC236}">
                  <a16:creationId xmlns:a16="http://schemas.microsoft.com/office/drawing/2014/main" id="{CB4EC828-AA64-4B3B-BA7F-3939F0DDCC1D}"/>
                </a:ext>
              </a:extLst>
            </p:cNvPr>
            <p:cNvCxnSpPr/>
            <p:nvPr/>
          </p:nvCxnSpPr>
          <p:spPr>
            <a:xfrm>
              <a:off x="9144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Rett linje 116">
              <a:extLst>
                <a:ext uri="{FF2B5EF4-FFF2-40B4-BE49-F238E27FC236}">
                  <a16:creationId xmlns:a16="http://schemas.microsoft.com/office/drawing/2014/main" id="{FC708BC3-AF6A-4C2A-A040-E7D2584F5679}"/>
                </a:ext>
              </a:extLst>
            </p:cNvPr>
            <p:cNvCxnSpPr/>
            <p:nvPr/>
          </p:nvCxnSpPr>
          <p:spPr>
            <a:xfrm>
              <a:off x="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Rett linje 117">
              <a:extLst>
                <a:ext uri="{FF2B5EF4-FFF2-40B4-BE49-F238E27FC236}">
                  <a16:creationId xmlns:a16="http://schemas.microsoft.com/office/drawing/2014/main" id="{6116CDD8-8FA0-499C-8024-98736A2A45BE}"/>
                </a:ext>
              </a:extLst>
            </p:cNvPr>
            <p:cNvCxnSpPr/>
            <p:nvPr/>
          </p:nvCxnSpPr>
          <p:spPr>
            <a:xfrm>
              <a:off x="4572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Rett linje 118">
              <a:extLst>
                <a:ext uri="{FF2B5EF4-FFF2-40B4-BE49-F238E27FC236}">
                  <a16:creationId xmlns:a16="http://schemas.microsoft.com/office/drawing/2014/main" id="{F87D2C52-DF01-487F-94E1-3B4808498D4C}"/>
                </a:ext>
              </a:extLst>
            </p:cNvPr>
            <p:cNvCxnSpPr/>
            <p:nvPr/>
          </p:nvCxnSpPr>
          <p:spPr>
            <a:xfrm>
              <a:off x="6858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Rett linje 119">
              <a:extLst>
                <a:ext uri="{FF2B5EF4-FFF2-40B4-BE49-F238E27FC236}">
                  <a16:creationId xmlns:a16="http://schemas.microsoft.com/office/drawing/2014/main" id="{D23653C0-3C9E-4DC9-9B20-7CB67F5F9553}"/>
                </a:ext>
              </a:extLst>
            </p:cNvPr>
            <p:cNvCxnSpPr/>
            <p:nvPr/>
          </p:nvCxnSpPr>
          <p:spPr>
            <a:xfrm>
              <a:off x="2286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Rett linje 120">
              <a:extLst>
                <a:ext uri="{FF2B5EF4-FFF2-40B4-BE49-F238E27FC236}">
                  <a16:creationId xmlns:a16="http://schemas.microsoft.com/office/drawing/2014/main" id="{2BD9608F-579A-4E69-946E-738146576D95}"/>
                </a:ext>
              </a:extLst>
            </p:cNvPr>
            <p:cNvCxnSpPr/>
            <p:nvPr/>
          </p:nvCxnSpPr>
          <p:spPr>
            <a:xfrm>
              <a:off x="8001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Rett linje 121">
              <a:extLst>
                <a:ext uri="{FF2B5EF4-FFF2-40B4-BE49-F238E27FC236}">
                  <a16:creationId xmlns:a16="http://schemas.microsoft.com/office/drawing/2014/main" id="{7C61F4DE-2E50-462D-A392-B853CA21D799}"/>
                </a:ext>
              </a:extLst>
            </p:cNvPr>
            <p:cNvCxnSpPr/>
            <p:nvPr/>
          </p:nvCxnSpPr>
          <p:spPr>
            <a:xfrm>
              <a:off x="5715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Rett linje 122">
              <a:extLst>
                <a:ext uri="{FF2B5EF4-FFF2-40B4-BE49-F238E27FC236}">
                  <a16:creationId xmlns:a16="http://schemas.microsoft.com/office/drawing/2014/main" id="{C04DF60F-3682-4D29-A6CE-7D6AAA8FA5CC}"/>
                </a:ext>
              </a:extLst>
            </p:cNvPr>
            <p:cNvCxnSpPr/>
            <p:nvPr/>
          </p:nvCxnSpPr>
          <p:spPr>
            <a:xfrm>
              <a:off x="3429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Rett linje 123">
              <a:extLst>
                <a:ext uri="{FF2B5EF4-FFF2-40B4-BE49-F238E27FC236}">
                  <a16:creationId xmlns:a16="http://schemas.microsoft.com/office/drawing/2014/main" id="{E042CA0E-47DC-47FC-897F-70F70BFB366F}"/>
                </a:ext>
              </a:extLst>
            </p:cNvPr>
            <p:cNvCxnSpPr/>
            <p:nvPr/>
          </p:nvCxnSpPr>
          <p:spPr>
            <a:xfrm>
              <a:off x="1143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Rett linje 124">
              <a:extLst>
                <a:ext uri="{FF2B5EF4-FFF2-40B4-BE49-F238E27FC236}">
                  <a16:creationId xmlns:a16="http://schemas.microsoft.com/office/drawing/2014/main" id="{3863232C-D53F-48D6-A0E7-CC9B4C60E264}"/>
                </a:ext>
              </a:extLst>
            </p:cNvPr>
            <p:cNvCxnSpPr/>
            <p:nvPr/>
          </p:nvCxnSpPr>
          <p:spPr>
            <a:xfrm>
              <a:off x="8572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Rett linje 125">
              <a:extLst>
                <a:ext uri="{FF2B5EF4-FFF2-40B4-BE49-F238E27FC236}">
                  <a16:creationId xmlns:a16="http://schemas.microsoft.com/office/drawing/2014/main" id="{6275ADF1-B804-49A7-96BE-70D8AFECB88C}"/>
                </a:ext>
              </a:extLst>
            </p:cNvPr>
            <p:cNvCxnSpPr/>
            <p:nvPr/>
          </p:nvCxnSpPr>
          <p:spPr>
            <a:xfrm>
              <a:off x="7429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Rett linje 126">
              <a:extLst>
                <a:ext uri="{FF2B5EF4-FFF2-40B4-BE49-F238E27FC236}">
                  <a16:creationId xmlns:a16="http://schemas.microsoft.com/office/drawing/2014/main" id="{6A12681A-6F23-4F31-ACA4-1A2E0006D537}"/>
                </a:ext>
              </a:extLst>
            </p:cNvPr>
            <p:cNvCxnSpPr/>
            <p:nvPr/>
          </p:nvCxnSpPr>
          <p:spPr>
            <a:xfrm>
              <a:off x="6286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Rett linje 127">
              <a:extLst>
                <a:ext uri="{FF2B5EF4-FFF2-40B4-BE49-F238E27FC236}">
                  <a16:creationId xmlns:a16="http://schemas.microsoft.com/office/drawing/2014/main" id="{6CC3DE73-64F8-4D3E-B3A9-935C5F8AA878}"/>
                </a:ext>
              </a:extLst>
            </p:cNvPr>
            <p:cNvCxnSpPr/>
            <p:nvPr/>
          </p:nvCxnSpPr>
          <p:spPr>
            <a:xfrm>
              <a:off x="5143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Rett linje 128">
              <a:extLst>
                <a:ext uri="{FF2B5EF4-FFF2-40B4-BE49-F238E27FC236}">
                  <a16:creationId xmlns:a16="http://schemas.microsoft.com/office/drawing/2014/main" id="{FAC273D9-8153-4188-B7CA-F30670E78B13}"/>
                </a:ext>
              </a:extLst>
            </p:cNvPr>
            <p:cNvCxnSpPr/>
            <p:nvPr/>
          </p:nvCxnSpPr>
          <p:spPr>
            <a:xfrm>
              <a:off x="4000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Rett linje 129">
              <a:extLst>
                <a:ext uri="{FF2B5EF4-FFF2-40B4-BE49-F238E27FC236}">
                  <a16:creationId xmlns:a16="http://schemas.microsoft.com/office/drawing/2014/main" id="{916C3980-C8A1-45C7-AA35-A88DD771F2A1}"/>
                </a:ext>
              </a:extLst>
            </p:cNvPr>
            <p:cNvCxnSpPr/>
            <p:nvPr/>
          </p:nvCxnSpPr>
          <p:spPr>
            <a:xfrm>
              <a:off x="2857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Rett linje 130">
              <a:extLst>
                <a:ext uri="{FF2B5EF4-FFF2-40B4-BE49-F238E27FC236}">
                  <a16:creationId xmlns:a16="http://schemas.microsoft.com/office/drawing/2014/main" id="{E99AC163-1D5E-4BFA-BE31-B64B3B6121BF}"/>
                </a:ext>
              </a:extLst>
            </p:cNvPr>
            <p:cNvCxnSpPr/>
            <p:nvPr/>
          </p:nvCxnSpPr>
          <p:spPr>
            <a:xfrm>
              <a:off x="1714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Rett linje 131">
              <a:extLst>
                <a:ext uri="{FF2B5EF4-FFF2-40B4-BE49-F238E27FC236}">
                  <a16:creationId xmlns:a16="http://schemas.microsoft.com/office/drawing/2014/main" id="{E1A62F24-69EB-4117-B6FE-6407220526C9}"/>
                </a:ext>
              </a:extLst>
            </p:cNvPr>
            <p:cNvCxnSpPr/>
            <p:nvPr/>
          </p:nvCxnSpPr>
          <p:spPr>
            <a:xfrm>
              <a:off x="571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Gruppe 132">
            <a:extLst>
              <a:ext uri="{FF2B5EF4-FFF2-40B4-BE49-F238E27FC236}">
                <a16:creationId xmlns:a16="http://schemas.microsoft.com/office/drawing/2014/main" id="{DD3A4283-61B4-4CE7-98B3-DD15277A1CA4}"/>
              </a:ext>
            </a:extLst>
          </p:cNvPr>
          <p:cNvGrpSpPr/>
          <p:nvPr/>
        </p:nvGrpSpPr>
        <p:grpSpPr>
          <a:xfrm>
            <a:off x="-452097" y="1"/>
            <a:ext cx="240000" cy="5661600"/>
            <a:chOff x="-583532" y="1"/>
            <a:chExt cx="372980" cy="4246200"/>
          </a:xfrm>
        </p:grpSpPr>
        <p:cxnSp>
          <p:nvCxnSpPr>
            <p:cNvPr id="166" name="Rett linje 165">
              <a:extLst>
                <a:ext uri="{FF2B5EF4-FFF2-40B4-BE49-F238E27FC236}">
                  <a16:creationId xmlns:a16="http://schemas.microsoft.com/office/drawing/2014/main" id="{AE79378C-6DE6-4A62-A57A-8ADA616F546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97042" y="-186489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Rett linje 168">
              <a:extLst>
                <a:ext uri="{FF2B5EF4-FFF2-40B4-BE49-F238E27FC236}">
                  <a16:creationId xmlns:a16="http://schemas.microsoft.com/office/drawing/2014/main" id="{DA872C10-59C3-4434-A633-E66C99353B1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97042" y="2239911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Rett linje 169">
              <a:extLst>
                <a:ext uri="{FF2B5EF4-FFF2-40B4-BE49-F238E27FC236}">
                  <a16:creationId xmlns:a16="http://schemas.microsoft.com/office/drawing/2014/main" id="{71B24215-F01A-485B-A939-3F00F3A22D33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18552" y="1105201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Rett linje 170">
              <a:extLst>
                <a:ext uri="{FF2B5EF4-FFF2-40B4-BE49-F238E27FC236}">
                  <a16:creationId xmlns:a16="http://schemas.microsoft.com/office/drawing/2014/main" id="{ADCFBA45-D34E-4289-B179-5626BD5E2E8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18552" y="3531601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Rett linje 171">
              <a:extLst>
                <a:ext uri="{FF2B5EF4-FFF2-40B4-BE49-F238E27FC236}">
                  <a16:creationId xmlns:a16="http://schemas.microsoft.com/office/drawing/2014/main" id="{C8991031-407D-4BDF-A817-F5AE7F4EAEA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3" y="5166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Rett linje 172">
              <a:extLst>
                <a:ext uri="{FF2B5EF4-FFF2-40B4-BE49-F238E27FC236}">
                  <a16:creationId xmlns:a16="http://schemas.microsoft.com/office/drawing/2014/main" id="{7610412E-A155-4674-8251-7706FBEE8D0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2" y="17298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Rett linje 173">
              <a:extLst>
                <a:ext uri="{FF2B5EF4-FFF2-40B4-BE49-F238E27FC236}">
                  <a16:creationId xmlns:a16="http://schemas.microsoft.com/office/drawing/2014/main" id="{B43C8BAA-7CFD-4FF4-A348-82C4B4D4433E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2" y="29430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Rett linje 174">
              <a:extLst>
                <a:ext uri="{FF2B5EF4-FFF2-40B4-BE49-F238E27FC236}">
                  <a16:creationId xmlns:a16="http://schemas.microsoft.com/office/drawing/2014/main" id="{2223CED3-2D78-4D56-9B33-66CAD9F8948A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2" y="41562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Title 1">
            <a:extLst>
              <a:ext uri="{FF2B5EF4-FFF2-40B4-BE49-F238E27FC236}">
                <a16:creationId xmlns:a16="http://schemas.microsoft.com/office/drawing/2014/main" id="{D9CC3CC4-9519-4F39-AF45-4B0686864F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32177" y="1117200"/>
            <a:ext cx="5741563" cy="5740800"/>
          </a:xfrm>
          <a:prstGeom prst="ellipse">
            <a:avLst/>
          </a:prstGeom>
          <a:solidFill>
            <a:schemeClr val="accent5"/>
          </a:solidFill>
        </p:spPr>
        <p:txBody>
          <a:bodyPr lIns="180000" tIns="540000" rIns="180000" bIns="540000" anchor="t">
            <a:normAutofit/>
          </a:bodyPr>
          <a:lstStyle>
            <a:lvl1pPr algn="ctr">
              <a:lnSpc>
                <a:spcPct val="100000"/>
              </a:lnSpc>
              <a:defRPr sz="3333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endParaRPr lang="nb-NO" noProof="0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CCF5EDEC-7BE2-4E2E-A936-F04462A3D2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3240" y="5659087"/>
            <a:ext cx="3074504" cy="530927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subtitle</a:t>
            </a:r>
            <a:r>
              <a:rPr lang="nb-NO" noProof="0"/>
              <a:t>, date and presenter</a:t>
            </a:r>
          </a:p>
        </p:txBody>
      </p:sp>
      <p:sp>
        <p:nvSpPr>
          <p:cNvPr id="39" name="Friform 38">
            <a:extLst>
              <a:ext uri="{FF2B5EF4-FFF2-40B4-BE49-F238E27FC236}">
                <a16:creationId xmlns:a16="http://schemas.microsoft.com/office/drawing/2014/main" id="{04DD660F-55F5-D349-B4A8-09F41F30CC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73286" y="1117200"/>
            <a:ext cx="7827381" cy="5740800"/>
          </a:xfrm>
          <a:custGeom>
            <a:avLst/>
            <a:gdLst>
              <a:gd name="connsiteX0" fmla="*/ 0 w 5870536"/>
              <a:gd name="connsiteY0" fmla="*/ 0 h 4305600"/>
              <a:gd name="connsiteX1" fmla="*/ 5870536 w 5870536"/>
              <a:gd name="connsiteY1" fmla="*/ 0 h 4305600"/>
              <a:gd name="connsiteX2" fmla="*/ 5870536 w 5870536"/>
              <a:gd name="connsiteY2" fmla="*/ 4305600 h 4305600"/>
              <a:gd name="connsiteX3" fmla="*/ 0 w 5870536"/>
              <a:gd name="connsiteY3" fmla="*/ 4305600 h 4305600"/>
              <a:gd name="connsiteX4" fmla="*/ 0 w 5870536"/>
              <a:gd name="connsiteY4" fmla="*/ 4299135 h 4305600"/>
              <a:gd name="connsiteX5" fmla="*/ 92081 w 5870536"/>
              <a:gd name="connsiteY5" fmla="*/ 4294486 h 4305600"/>
              <a:gd name="connsiteX6" fmla="*/ 2024769 w 5870536"/>
              <a:gd name="connsiteY6" fmla="*/ 2152800 h 4305600"/>
              <a:gd name="connsiteX7" fmla="*/ 92081 w 5870536"/>
              <a:gd name="connsiteY7" fmla="*/ 11115 h 4305600"/>
              <a:gd name="connsiteX8" fmla="*/ 0 w 5870536"/>
              <a:gd name="connsiteY8" fmla="*/ 6465 h 43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70536" h="4305600">
                <a:moveTo>
                  <a:pt x="0" y="0"/>
                </a:moveTo>
                <a:lnTo>
                  <a:pt x="5870536" y="0"/>
                </a:lnTo>
                <a:lnTo>
                  <a:pt x="5870536" y="4305600"/>
                </a:lnTo>
                <a:lnTo>
                  <a:pt x="0" y="4305600"/>
                </a:lnTo>
                <a:lnTo>
                  <a:pt x="0" y="4299135"/>
                </a:lnTo>
                <a:lnTo>
                  <a:pt x="92081" y="4294486"/>
                </a:lnTo>
                <a:cubicBezTo>
                  <a:pt x="1177643" y="4184241"/>
                  <a:pt x="2024769" y="3267449"/>
                  <a:pt x="2024769" y="2152800"/>
                </a:cubicBezTo>
                <a:cubicBezTo>
                  <a:pt x="2024769" y="1038151"/>
                  <a:pt x="1177643" y="121360"/>
                  <a:pt x="92081" y="11115"/>
                </a:cubicBezTo>
                <a:lnTo>
                  <a:pt x="0" y="6465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2160000" tIns="360000" rIns="720000" anchor="t" anchorCtr="1">
            <a:noAutofit/>
          </a:bodyPr>
          <a:lstStyle>
            <a:lvl1pPr marL="0" marR="0" indent="0" algn="r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None/>
              <a:tabLst/>
              <a:defRPr sz="12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None/>
              <a:tabLst/>
              <a:defRPr/>
            </a:pP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picture</a:t>
            </a:r>
            <a:r>
              <a:rPr lang="nb-NO" dirty="0"/>
              <a:t> by drag &amp; </a:t>
            </a:r>
            <a:r>
              <a:rPr lang="nb-NO" dirty="0" err="1"/>
              <a:t>drop</a:t>
            </a:r>
            <a:r>
              <a:rPr lang="nb-NO" dirty="0"/>
              <a:t> or </a:t>
            </a:r>
            <a:r>
              <a:rPr lang="nb-NO" dirty="0" err="1"/>
              <a:t>insert</a:t>
            </a:r>
            <a:r>
              <a:rPr lang="nb-NO" dirty="0"/>
              <a:t> </a:t>
            </a:r>
            <a:r>
              <a:rPr lang="nb-NO" dirty="0" err="1"/>
              <a:t>picture</a:t>
            </a:r>
            <a:r>
              <a:rPr lang="nb-NO" dirty="0"/>
              <a:t>. </a:t>
            </a:r>
            <a:r>
              <a:rPr lang="nb-NO" noProof="1"/>
              <a:t>Use picture tools to adjust.</a:t>
            </a:r>
          </a:p>
        </p:txBody>
      </p:sp>
      <p:pic>
        <p:nvPicPr>
          <p:cNvPr id="38" name="Bilde 37" descr="Et bilde som inneholder pil&#10;&#10;Automatisk generert beskrivelse">
            <a:extLst>
              <a:ext uri="{FF2B5EF4-FFF2-40B4-BE49-F238E27FC236}">
                <a16:creationId xmlns:a16="http://schemas.microsoft.com/office/drawing/2014/main" id="{510ED2A9-72FA-48ED-BFBE-6E514B574D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235" y="465044"/>
            <a:ext cx="1103884" cy="27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0332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icture 4 circle transpa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Plassholder for bilde 68">
            <a:extLst>
              <a:ext uri="{FF2B5EF4-FFF2-40B4-BE49-F238E27FC236}">
                <a16:creationId xmlns:a16="http://schemas.microsoft.com/office/drawing/2014/main" id="{2D72BCA1-2054-40FB-9E68-F6EC5885D03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124277"/>
            <a:ext cx="12200667" cy="5733719"/>
          </a:xfrm>
          <a:prstGeom prst="rect">
            <a:avLst/>
          </a:prstGeom>
          <a:solidFill>
            <a:schemeClr val="accent1"/>
          </a:solidFill>
        </p:spPr>
        <p:txBody>
          <a:bodyPr wrap="square" lIns="5760000" tIns="360000" rIns="360000">
            <a:noAutofit/>
          </a:bodyPr>
          <a:lstStyle>
            <a:lvl1pPr marL="0" marR="0" indent="0" algn="just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None/>
              <a:tabLst/>
              <a:defRPr sz="12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None/>
              <a:tabLst/>
              <a:defRPr/>
            </a:pP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picture</a:t>
            </a:r>
            <a:r>
              <a:rPr lang="nb-NO" dirty="0"/>
              <a:t> by drag &amp; </a:t>
            </a:r>
            <a:r>
              <a:rPr lang="nb-NO" dirty="0" err="1"/>
              <a:t>drop</a:t>
            </a:r>
            <a:r>
              <a:rPr lang="nb-NO" dirty="0"/>
              <a:t> or </a:t>
            </a:r>
            <a:r>
              <a:rPr lang="nb-NO" dirty="0" err="1"/>
              <a:t>insert</a:t>
            </a:r>
            <a:r>
              <a:rPr lang="nb-NO" dirty="0"/>
              <a:t> </a:t>
            </a:r>
            <a:r>
              <a:rPr lang="nb-NO" dirty="0" err="1"/>
              <a:t>picture</a:t>
            </a:r>
            <a:r>
              <a:rPr lang="nb-NO" dirty="0"/>
              <a:t>. </a:t>
            </a:r>
            <a:r>
              <a:rPr lang="nb-NO" noProof="1"/>
              <a:t>Use picture tools to adjust. </a:t>
            </a:r>
          </a:p>
          <a:p>
            <a:r>
              <a:rPr lang="nb-NO" noProof="1"/>
              <a:t> </a:t>
            </a:r>
          </a:p>
        </p:txBody>
      </p:sp>
      <p:grpSp>
        <p:nvGrpSpPr>
          <p:cNvPr id="110" name="Gruppe 109">
            <a:extLst>
              <a:ext uri="{FF2B5EF4-FFF2-40B4-BE49-F238E27FC236}">
                <a16:creationId xmlns:a16="http://schemas.microsoft.com/office/drawing/2014/main" id="{1B3532F1-75B2-4B89-8D54-B558D3A0381A}"/>
              </a:ext>
            </a:extLst>
          </p:cNvPr>
          <p:cNvGrpSpPr/>
          <p:nvPr/>
        </p:nvGrpSpPr>
        <p:grpSpPr>
          <a:xfrm>
            <a:off x="0" y="7063717"/>
            <a:ext cx="12192000" cy="240000"/>
            <a:chOff x="0" y="5297788"/>
            <a:chExt cx="9144000" cy="372979"/>
          </a:xfrm>
        </p:grpSpPr>
        <p:cxnSp>
          <p:nvCxnSpPr>
            <p:cNvPr id="111" name="Rett linje 110">
              <a:extLst>
                <a:ext uri="{FF2B5EF4-FFF2-40B4-BE49-F238E27FC236}">
                  <a16:creationId xmlns:a16="http://schemas.microsoft.com/office/drawing/2014/main" id="{527937BC-D6B0-49F0-86F5-A93DE3740C8B}"/>
                </a:ext>
              </a:extLst>
            </p:cNvPr>
            <p:cNvCxnSpPr/>
            <p:nvPr/>
          </p:nvCxnSpPr>
          <p:spPr>
            <a:xfrm>
              <a:off x="9144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Rett linje 111">
              <a:extLst>
                <a:ext uri="{FF2B5EF4-FFF2-40B4-BE49-F238E27FC236}">
                  <a16:creationId xmlns:a16="http://schemas.microsoft.com/office/drawing/2014/main" id="{91E1C51D-B6BE-4B47-B10A-B03BCDA0AABA}"/>
                </a:ext>
              </a:extLst>
            </p:cNvPr>
            <p:cNvCxnSpPr/>
            <p:nvPr/>
          </p:nvCxnSpPr>
          <p:spPr>
            <a:xfrm>
              <a:off x="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Rett linje 112">
              <a:extLst>
                <a:ext uri="{FF2B5EF4-FFF2-40B4-BE49-F238E27FC236}">
                  <a16:creationId xmlns:a16="http://schemas.microsoft.com/office/drawing/2014/main" id="{967F5C84-191E-457D-A864-B29EC08F0B6F}"/>
                </a:ext>
              </a:extLst>
            </p:cNvPr>
            <p:cNvCxnSpPr/>
            <p:nvPr/>
          </p:nvCxnSpPr>
          <p:spPr>
            <a:xfrm>
              <a:off x="4572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Rett linje 113">
              <a:extLst>
                <a:ext uri="{FF2B5EF4-FFF2-40B4-BE49-F238E27FC236}">
                  <a16:creationId xmlns:a16="http://schemas.microsoft.com/office/drawing/2014/main" id="{DE4F3DC6-A2E4-4567-8252-264776AF36CF}"/>
                </a:ext>
              </a:extLst>
            </p:cNvPr>
            <p:cNvCxnSpPr/>
            <p:nvPr/>
          </p:nvCxnSpPr>
          <p:spPr>
            <a:xfrm>
              <a:off x="6858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Rett linje 114">
              <a:extLst>
                <a:ext uri="{FF2B5EF4-FFF2-40B4-BE49-F238E27FC236}">
                  <a16:creationId xmlns:a16="http://schemas.microsoft.com/office/drawing/2014/main" id="{D621A3D7-7C09-4DE4-93E0-8866786801E2}"/>
                </a:ext>
              </a:extLst>
            </p:cNvPr>
            <p:cNvCxnSpPr/>
            <p:nvPr/>
          </p:nvCxnSpPr>
          <p:spPr>
            <a:xfrm>
              <a:off x="2286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Rett linje 115">
              <a:extLst>
                <a:ext uri="{FF2B5EF4-FFF2-40B4-BE49-F238E27FC236}">
                  <a16:creationId xmlns:a16="http://schemas.microsoft.com/office/drawing/2014/main" id="{A2D3573C-C4BE-4A7C-8A65-ECC0A791F821}"/>
                </a:ext>
              </a:extLst>
            </p:cNvPr>
            <p:cNvCxnSpPr/>
            <p:nvPr/>
          </p:nvCxnSpPr>
          <p:spPr>
            <a:xfrm>
              <a:off x="8001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Rett linje 116">
              <a:extLst>
                <a:ext uri="{FF2B5EF4-FFF2-40B4-BE49-F238E27FC236}">
                  <a16:creationId xmlns:a16="http://schemas.microsoft.com/office/drawing/2014/main" id="{52FB9399-120E-4F03-993D-B32CD505FC90}"/>
                </a:ext>
              </a:extLst>
            </p:cNvPr>
            <p:cNvCxnSpPr/>
            <p:nvPr/>
          </p:nvCxnSpPr>
          <p:spPr>
            <a:xfrm>
              <a:off x="5715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Rett linje 117">
              <a:extLst>
                <a:ext uri="{FF2B5EF4-FFF2-40B4-BE49-F238E27FC236}">
                  <a16:creationId xmlns:a16="http://schemas.microsoft.com/office/drawing/2014/main" id="{7E898101-6865-407F-AAA6-5CABDB47FDF2}"/>
                </a:ext>
              </a:extLst>
            </p:cNvPr>
            <p:cNvCxnSpPr/>
            <p:nvPr/>
          </p:nvCxnSpPr>
          <p:spPr>
            <a:xfrm>
              <a:off x="3429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Rett linje 118">
              <a:extLst>
                <a:ext uri="{FF2B5EF4-FFF2-40B4-BE49-F238E27FC236}">
                  <a16:creationId xmlns:a16="http://schemas.microsoft.com/office/drawing/2014/main" id="{ABB597C0-915A-4164-8A8F-11634CA3BDDD}"/>
                </a:ext>
              </a:extLst>
            </p:cNvPr>
            <p:cNvCxnSpPr/>
            <p:nvPr/>
          </p:nvCxnSpPr>
          <p:spPr>
            <a:xfrm>
              <a:off x="1143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Rett linje 119">
              <a:extLst>
                <a:ext uri="{FF2B5EF4-FFF2-40B4-BE49-F238E27FC236}">
                  <a16:creationId xmlns:a16="http://schemas.microsoft.com/office/drawing/2014/main" id="{8F63A98A-1D73-4A0C-BE12-77B597748CB4}"/>
                </a:ext>
              </a:extLst>
            </p:cNvPr>
            <p:cNvCxnSpPr/>
            <p:nvPr/>
          </p:nvCxnSpPr>
          <p:spPr>
            <a:xfrm>
              <a:off x="8572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Rett linje 120">
              <a:extLst>
                <a:ext uri="{FF2B5EF4-FFF2-40B4-BE49-F238E27FC236}">
                  <a16:creationId xmlns:a16="http://schemas.microsoft.com/office/drawing/2014/main" id="{9900E21B-838D-4A29-9FC9-6A9F8F0BF0E8}"/>
                </a:ext>
              </a:extLst>
            </p:cNvPr>
            <p:cNvCxnSpPr/>
            <p:nvPr/>
          </p:nvCxnSpPr>
          <p:spPr>
            <a:xfrm>
              <a:off x="7429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Rett linje 121">
              <a:extLst>
                <a:ext uri="{FF2B5EF4-FFF2-40B4-BE49-F238E27FC236}">
                  <a16:creationId xmlns:a16="http://schemas.microsoft.com/office/drawing/2014/main" id="{385C1CEC-E3FB-444C-B81F-AD20A2AC6ED8}"/>
                </a:ext>
              </a:extLst>
            </p:cNvPr>
            <p:cNvCxnSpPr/>
            <p:nvPr/>
          </p:nvCxnSpPr>
          <p:spPr>
            <a:xfrm>
              <a:off x="6286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Rett linje 122">
              <a:extLst>
                <a:ext uri="{FF2B5EF4-FFF2-40B4-BE49-F238E27FC236}">
                  <a16:creationId xmlns:a16="http://schemas.microsoft.com/office/drawing/2014/main" id="{83E866E0-84AB-43E4-B18A-E8C67B02D1D0}"/>
                </a:ext>
              </a:extLst>
            </p:cNvPr>
            <p:cNvCxnSpPr/>
            <p:nvPr/>
          </p:nvCxnSpPr>
          <p:spPr>
            <a:xfrm>
              <a:off x="5143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Rett linje 123">
              <a:extLst>
                <a:ext uri="{FF2B5EF4-FFF2-40B4-BE49-F238E27FC236}">
                  <a16:creationId xmlns:a16="http://schemas.microsoft.com/office/drawing/2014/main" id="{03345610-7724-433B-A6E6-E952730169C8}"/>
                </a:ext>
              </a:extLst>
            </p:cNvPr>
            <p:cNvCxnSpPr/>
            <p:nvPr/>
          </p:nvCxnSpPr>
          <p:spPr>
            <a:xfrm>
              <a:off x="4000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Rett linje 124">
              <a:extLst>
                <a:ext uri="{FF2B5EF4-FFF2-40B4-BE49-F238E27FC236}">
                  <a16:creationId xmlns:a16="http://schemas.microsoft.com/office/drawing/2014/main" id="{21E8E08D-4961-41A3-BA37-C4A85E58CB3B}"/>
                </a:ext>
              </a:extLst>
            </p:cNvPr>
            <p:cNvCxnSpPr/>
            <p:nvPr/>
          </p:nvCxnSpPr>
          <p:spPr>
            <a:xfrm>
              <a:off x="2857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Rett linje 125">
              <a:extLst>
                <a:ext uri="{FF2B5EF4-FFF2-40B4-BE49-F238E27FC236}">
                  <a16:creationId xmlns:a16="http://schemas.microsoft.com/office/drawing/2014/main" id="{42CEEA11-3C6F-419B-9A41-D98FC00664C8}"/>
                </a:ext>
              </a:extLst>
            </p:cNvPr>
            <p:cNvCxnSpPr/>
            <p:nvPr/>
          </p:nvCxnSpPr>
          <p:spPr>
            <a:xfrm>
              <a:off x="1714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Rett linje 126">
              <a:extLst>
                <a:ext uri="{FF2B5EF4-FFF2-40B4-BE49-F238E27FC236}">
                  <a16:creationId xmlns:a16="http://schemas.microsoft.com/office/drawing/2014/main" id="{3FCFEB0B-4112-4FFA-BF3C-F51CA53ED454}"/>
                </a:ext>
              </a:extLst>
            </p:cNvPr>
            <p:cNvCxnSpPr/>
            <p:nvPr/>
          </p:nvCxnSpPr>
          <p:spPr>
            <a:xfrm>
              <a:off x="571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8" name="Gruppe 127">
            <a:extLst>
              <a:ext uri="{FF2B5EF4-FFF2-40B4-BE49-F238E27FC236}">
                <a16:creationId xmlns:a16="http://schemas.microsoft.com/office/drawing/2014/main" id="{3694025E-2D26-460A-8C04-2695F577ED1A}"/>
              </a:ext>
            </a:extLst>
          </p:cNvPr>
          <p:cNvGrpSpPr/>
          <p:nvPr/>
        </p:nvGrpSpPr>
        <p:grpSpPr>
          <a:xfrm>
            <a:off x="-452097" y="1"/>
            <a:ext cx="240000" cy="5661600"/>
            <a:chOff x="-583532" y="1"/>
            <a:chExt cx="372980" cy="4246200"/>
          </a:xfrm>
        </p:grpSpPr>
        <p:cxnSp>
          <p:nvCxnSpPr>
            <p:cNvPr id="129" name="Rett linje 128">
              <a:extLst>
                <a:ext uri="{FF2B5EF4-FFF2-40B4-BE49-F238E27FC236}">
                  <a16:creationId xmlns:a16="http://schemas.microsoft.com/office/drawing/2014/main" id="{09420FB4-778D-47AD-B4F6-F02261DAE97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97042" y="-186489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Rett linje 129">
              <a:extLst>
                <a:ext uri="{FF2B5EF4-FFF2-40B4-BE49-F238E27FC236}">
                  <a16:creationId xmlns:a16="http://schemas.microsoft.com/office/drawing/2014/main" id="{0E64E137-181E-4F59-BFC0-26B0D4553D0D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97042" y="2239911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Rett linje 130">
              <a:extLst>
                <a:ext uri="{FF2B5EF4-FFF2-40B4-BE49-F238E27FC236}">
                  <a16:creationId xmlns:a16="http://schemas.microsoft.com/office/drawing/2014/main" id="{F2CCD71F-364D-4FCA-9957-C2AB2849C7FC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18552" y="1105201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Rett linje 131">
              <a:extLst>
                <a:ext uri="{FF2B5EF4-FFF2-40B4-BE49-F238E27FC236}">
                  <a16:creationId xmlns:a16="http://schemas.microsoft.com/office/drawing/2014/main" id="{81327B8B-BB12-4BD4-9C1F-887ED48A558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18552" y="3531601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Rett linje 132">
              <a:extLst>
                <a:ext uri="{FF2B5EF4-FFF2-40B4-BE49-F238E27FC236}">
                  <a16:creationId xmlns:a16="http://schemas.microsoft.com/office/drawing/2014/main" id="{D80CC957-8B3D-4BDD-9CE5-BAB79B93112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3" y="5166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Rett linje 133">
              <a:extLst>
                <a:ext uri="{FF2B5EF4-FFF2-40B4-BE49-F238E27FC236}">
                  <a16:creationId xmlns:a16="http://schemas.microsoft.com/office/drawing/2014/main" id="{1AFE4748-6AE4-4A10-A07A-5D7E444BFA43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2" y="17298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Rett linje 134">
              <a:extLst>
                <a:ext uri="{FF2B5EF4-FFF2-40B4-BE49-F238E27FC236}">
                  <a16:creationId xmlns:a16="http://schemas.microsoft.com/office/drawing/2014/main" id="{5478521E-9441-4E47-9364-2EC7B3819440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2" y="29430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tt linje 135">
              <a:extLst>
                <a:ext uri="{FF2B5EF4-FFF2-40B4-BE49-F238E27FC236}">
                  <a16:creationId xmlns:a16="http://schemas.microsoft.com/office/drawing/2014/main" id="{2CDCF340-1AF5-4414-BFB0-1764E129FF3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00552" y="4156201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9" name="Title 1">
            <a:extLst>
              <a:ext uri="{FF2B5EF4-FFF2-40B4-BE49-F238E27FC236}">
                <a16:creationId xmlns:a16="http://schemas.microsoft.com/office/drawing/2014/main" id="{6A11A90F-BED1-423B-A488-9D1A82039A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32177" y="1117200"/>
            <a:ext cx="5741563" cy="5740800"/>
          </a:xfrm>
          <a:prstGeom prst="ellipse">
            <a:avLst/>
          </a:prstGeom>
          <a:solidFill>
            <a:schemeClr val="bg1">
              <a:alpha val="60000"/>
            </a:schemeClr>
          </a:solidFill>
        </p:spPr>
        <p:txBody>
          <a:bodyPr lIns="180000" tIns="540000" rIns="180000" bIns="540000" anchor="t">
            <a:normAutofit/>
          </a:bodyPr>
          <a:lstStyle>
            <a:lvl1pPr algn="ctr">
              <a:lnSpc>
                <a:spcPct val="100000"/>
              </a:lnSpc>
              <a:defRPr sz="3333">
                <a:solidFill>
                  <a:schemeClr val="tx2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add</a:t>
            </a:r>
            <a:r>
              <a:rPr lang="nb-NO" noProof="0" dirty="0"/>
              <a:t> </a:t>
            </a:r>
            <a:r>
              <a:rPr lang="nb-NO" noProof="0" dirty="0" err="1"/>
              <a:t>title</a:t>
            </a:r>
            <a:endParaRPr lang="nb-NO" noProof="0" dirty="0"/>
          </a:p>
        </p:txBody>
      </p:sp>
      <p:sp>
        <p:nvSpPr>
          <p:cNvPr id="140" name="Plassholder for tekst 3">
            <a:extLst>
              <a:ext uri="{FF2B5EF4-FFF2-40B4-BE49-F238E27FC236}">
                <a16:creationId xmlns:a16="http://schemas.microsoft.com/office/drawing/2014/main" id="{0F64306D-751C-4500-887B-BA4C098C02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3240" y="5659087"/>
            <a:ext cx="3074504" cy="530927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add</a:t>
            </a:r>
            <a:r>
              <a:rPr lang="nb-NO" noProof="0" dirty="0"/>
              <a:t> </a:t>
            </a:r>
            <a:r>
              <a:rPr lang="nb-NO" noProof="0" dirty="0" err="1"/>
              <a:t>subtitle</a:t>
            </a:r>
            <a:r>
              <a:rPr lang="nb-NO" noProof="0" dirty="0"/>
              <a:t>, date and presenter</a:t>
            </a:r>
          </a:p>
        </p:txBody>
      </p:sp>
      <p:pic>
        <p:nvPicPr>
          <p:cNvPr id="37" name="Bilde 36" descr="Et bilde som inneholder pil&#10;&#10;Automatisk generert beskrivelse">
            <a:extLst>
              <a:ext uri="{FF2B5EF4-FFF2-40B4-BE49-F238E27FC236}">
                <a16:creationId xmlns:a16="http://schemas.microsoft.com/office/drawing/2014/main" id="{983B4C91-2486-49D9-B80C-0C1C9B7F14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235" y="465044"/>
            <a:ext cx="1103884" cy="27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3279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icture - setu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1">
            <a:extLst>
              <a:ext uri="{FF2B5EF4-FFF2-40B4-BE49-F238E27FC236}">
                <a16:creationId xmlns:a16="http://schemas.microsoft.com/office/drawing/2014/main" id="{0FDB234A-25BE-4ED9-8E5C-E01BC39A97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45" y="1124278"/>
            <a:ext cx="5337599" cy="5756885"/>
          </a:xfrm>
          <a:prstGeom prst="rect">
            <a:avLst/>
          </a:prstGeom>
          <a:solidFill>
            <a:schemeClr val="accent1"/>
          </a:solidFill>
        </p:spPr>
        <p:txBody>
          <a:bodyPr lIns="540000" tIns="720000" rIns="540000" anchor="t">
            <a:normAutofit/>
          </a:bodyPr>
          <a:lstStyle>
            <a:lvl1pPr algn="l">
              <a:lnSpc>
                <a:spcPct val="100000"/>
              </a:lnSpc>
              <a:defRPr sz="3333">
                <a:solidFill>
                  <a:schemeClr val="tx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endParaRPr lang="nb-NO" noProof="0"/>
          </a:p>
        </p:txBody>
      </p:sp>
      <p:sp>
        <p:nvSpPr>
          <p:cNvPr id="107" name="Plassholder for bilde 68">
            <a:extLst>
              <a:ext uri="{FF2B5EF4-FFF2-40B4-BE49-F238E27FC236}">
                <a16:creationId xmlns:a16="http://schemas.microsoft.com/office/drawing/2014/main" id="{5F9EABFC-F39B-42BE-AB00-4A421627968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42666" y="1124277"/>
            <a:ext cx="6858001" cy="5733719"/>
          </a:xfrm>
          <a:prstGeom prst="rect">
            <a:avLst/>
          </a:prstGeom>
          <a:solidFill>
            <a:schemeClr val="accent1"/>
          </a:solidFill>
        </p:spPr>
        <p:txBody>
          <a:bodyPr wrap="square" lIns="360000" tIns="360000" rIns="360000"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None/>
              <a:tabLst/>
              <a:defRPr sz="12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None/>
              <a:tabLst/>
              <a:defRPr/>
            </a:pP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r>
              <a:rPr lang="nb-NO"/>
              <a:t> by drag &amp; </a:t>
            </a:r>
            <a:r>
              <a:rPr lang="nb-NO" err="1"/>
              <a:t>drop</a:t>
            </a:r>
            <a:r>
              <a:rPr lang="nb-NO"/>
              <a:t> or </a:t>
            </a:r>
            <a:r>
              <a:rPr lang="nb-NO" err="1"/>
              <a:t>insert</a:t>
            </a:r>
            <a:r>
              <a:rPr lang="nb-NO"/>
              <a:t> </a:t>
            </a:r>
            <a:r>
              <a:rPr lang="nb-NO" err="1"/>
              <a:t>picture</a:t>
            </a:r>
            <a:r>
              <a:rPr lang="nb-NO"/>
              <a:t>. </a:t>
            </a:r>
            <a:r>
              <a:rPr lang="nb-NO" noProof="1"/>
              <a:t>Use picture tools to adjust. </a:t>
            </a:r>
          </a:p>
          <a:p>
            <a:r>
              <a:rPr lang="nb-NO" noProof="1"/>
              <a:t> </a:t>
            </a:r>
          </a:p>
        </p:txBody>
      </p:sp>
      <p:sp>
        <p:nvSpPr>
          <p:cNvPr id="108" name="TextBox 137">
            <a:extLst>
              <a:ext uri="{FF2B5EF4-FFF2-40B4-BE49-F238E27FC236}">
                <a16:creationId xmlns:a16="http://schemas.microsoft.com/office/drawing/2014/main" id="{D6E7252D-4087-4C95-B59B-927F7348ACBF}"/>
              </a:ext>
            </a:extLst>
          </p:cNvPr>
          <p:cNvSpPr txBox="1"/>
          <p:nvPr/>
        </p:nvSpPr>
        <p:spPr>
          <a:xfrm>
            <a:off x="0" y="-624879"/>
            <a:ext cx="241300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0" noProof="0">
                <a:solidFill>
                  <a:schemeClr val="tx1"/>
                </a:solidFill>
                <a:latin typeface="+mn-lt"/>
              </a:rPr>
              <a:t>Storebrand 2020 – 16:9</a:t>
            </a:r>
          </a:p>
        </p:txBody>
      </p:sp>
      <p:sp>
        <p:nvSpPr>
          <p:cNvPr id="110" name="Subtitle 2">
            <a:extLst>
              <a:ext uri="{FF2B5EF4-FFF2-40B4-BE49-F238E27FC236}">
                <a16:creationId xmlns:a16="http://schemas.microsoft.com/office/drawing/2014/main" id="{E1B6D29B-6F5E-44C0-911C-6F4BB653BB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" y="4453107"/>
            <a:ext cx="5336401" cy="2428055"/>
          </a:xfrm>
          <a:prstGeom prst="rect">
            <a:avLst/>
          </a:prstGeom>
        </p:spPr>
        <p:txBody>
          <a:bodyPr lIns="540000" tIns="0" rIns="540000" bIns="540000" anchor="b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subtitle</a:t>
            </a:r>
            <a:r>
              <a:rPr lang="nb-NO" noProof="0"/>
              <a:t>, date and presenter</a:t>
            </a:r>
          </a:p>
        </p:txBody>
      </p:sp>
      <p:grpSp>
        <p:nvGrpSpPr>
          <p:cNvPr id="111" name="Gruppe 110">
            <a:extLst>
              <a:ext uri="{FF2B5EF4-FFF2-40B4-BE49-F238E27FC236}">
                <a16:creationId xmlns:a16="http://schemas.microsoft.com/office/drawing/2014/main" id="{65D51732-CDC3-4788-B527-FA9742D603EB}"/>
              </a:ext>
            </a:extLst>
          </p:cNvPr>
          <p:cNvGrpSpPr/>
          <p:nvPr/>
        </p:nvGrpSpPr>
        <p:grpSpPr>
          <a:xfrm>
            <a:off x="-1524003" y="0"/>
            <a:ext cx="497307" cy="1617600"/>
            <a:chOff x="-431132" y="152401"/>
            <a:chExt cx="372980" cy="1213200"/>
          </a:xfrm>
        </p:grpSpPr>
        <p:cxnSp>
          <p:nvCxnSpPr>
            <p:cNvPr id="112" name="Rett linje 111">
              <a:extLst>
                <a:ext uri="{FF2B5EF4-FFF2-40B4-BE49-F238E27FC236}">
                  <a16:creationId xmlns:a16="http://schemas.microsoft.com/office/drawing/2014/main" id="{A35DAAA4-97FE-4121-AEC7-1A262BE3877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244642" y="-34089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Rett linje 112">
              <a:extLst>
                <a:ext uri="{FF2B5EF4-FFF2-40B4-BE49-F238E27FC236}">
                  <a16:creationId xmlns:a16="http://schemas.microsoft.com/office/drawing/2014/main" id="{CCF048B8-0393-43A7-9D28-82086BCAE8F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166152" y="1257601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7">
            <a:extLst>
              <a:ext uri="{FF2B5EF4-FFF2-40B4-BE49-F238E27FC236}">
                <a16:creationId xmlns:a16="http://schemas.microsoft.com/office/drawing/2014/main" id="{D1BEB8A1-BC19-4A5C-969E-4AAF1B22FEBA}"/>
              </a:ext>
            </a:extLst>
          </p:cNvPr>
          <p:cNvSpPr txBox="1"/>
          <p:nvPr/>
        </p:nvSpPr>
        <p:spPr>
          <a:xfrm>
            <a:off x="0" y="-383629"/>
            <a:ext cx="1749776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>
                <a:solidFill>
                  <a:schemeClr val="tx1"/>
                </a:solidFill>
              </a:rPr>
              <a:t>Titleslide 1 - beige</a:t>
            </a:r>
          </a:p>
        </p:txBody>
      </p:sp>
      <p:grpSp>
        <p:nvGrpSpPr>
          <p:cNvPr id="115" name="Gruppe 114">
            <a:extLst>
              <a:ext uri="{FF2B5EF4-FFF2-40B4-BE49-F238E27FC236}">
                <a16:creationId xmlns:a16="http://schemas.microsoft.com/office/drawing/2014/main" id="{41E97E57-5157-4765-A889-FD768F44AD8B}"/>
              </a:ext>
            </a:extLst>
          </p:cNvPr>
          <p:cNvGrpSpPr/>
          <p:nvPr/>
        </p:nvGrpSpPr>
        <p:grpSpPr>
          <a:xfrm>
            <a:off x="0" y="7063717"/>
            <a:ext cx="12192000" cy="240000"/>
            <a:chOff x="0" y="5297788"/>
            <a:chExt cx="9144000" cy="372979"/>
          </a:xfrm>
        </p:grpSpPr>
        <p:cxnSp>
          <p:nvCxnSpPr>
            <p:cNvPr id="116" name="Rett linje 115">
              <a:extLst>
                <a:ext uri="{FF2B5EF4-FFF2-40B4-BE49-F238E27FC236}">
                  <a16:creationId xmlns:a16="http://schemas.microsoft.com/office/drawing/2014/main" id="{CB4EC828-AA64-4B3B-BA7F-3939F0DDCC1D}"/>
                </a:ext>
              </a:extLst>
            </p:cNvPr>
            <p:cNvCxnSpPr/>
            <p:nvPr/>
          </p:nvCxnSpPr>
          <p:spPr>
            <a:xfrm>
              <a:off x="9144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Rett linje 116">
              <a:extLst>
                <a:ext uri="{FF2B5EF4-FFF2-40B4-BE49-F238E27FC236}">
                  <a16:creationId xmlns:a16="http://schemas.microsoft.com/office/drawing/2014/main" id="{FC708BC3-AF6A-4C2A-A040-E7D2584F5679}"/>
                </a:ext>
              </a:extLst>
            </p:cNvPr>
            <p:cNvCxnSpPr/>
            <p:nvPr/>
          </p:nvCxnSpPr>
          <p:spPr>
            <a:xfrm>
              <a:off x="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Rett linje 117">
              <a:extLst>
                <a:ext uri="{FF2B5EF4-FFF2-40B4-BE49-F238E27FC236}">
                  <a16:creationId xmlns:a16="http://schemas.microsoft.com/office/drawing/2014/main" id="{6116CDD8-8FA0-499C-8024-98736A2A45BE}"/>
                </a:ext>
              </a:extLst>
            </p:cNvPr>
            <p:cNvCxnSpPr/>
            <p:nvPr/>
          </p:nvCxnSpPr>
          <p:spPr>
            <a:xfrm>
              <a:off x="4572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Rett linje 118">
              <a:extLst>
                <a:ext uri="{FF2B5EF4-FFF2-40B4-BE49-F238E27FC236}">
                  <a16:creationId xmlns:a16="http://schemas.microsoft.com/office/drawing/2014/main" id="{F87D2C52-DF01-487F-94E1-3B4808498D4C}"/>
                </a:ext>
              </a:extLst>
            </p:cNvPr>
            <p:cNvCxnSpPr/>
            <p:nvPr/>
          </p:nvCxnSpPr>
          <p:spPr>
            <a:xfrm>
              <a:off x="6858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Rett linje 119">
              <a:extLst>
                <a:ext uri="{FF2B5EF4-FFF2-40B4-BE49-F238E27FC236}">
                  <a16:creationId xmlns:a16="http://schemas.microsoft.com/office/drawing/2014/main" id="{D23653C0-3C9E-4DC9-9B20-7CB67F5F9553}"/>
                </a:ext>
              </a:extLst>
            </p:cNvPr>
            <p:cNvCxnSpPr/>
            <p:nvPr/>
          </p:nvCxnSpPr>
          <p:spPr>
            <a:xfrm>
              <a:off x="2286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Rett linje 120">
              <a:extLst>
                <a:ext uri="{FF2B5EF4-FFF2-40B4-BE49-F238E27FC236}">
                  <a16:creationId xmlns:a16="http://schemas.microsoft.com/office/drawing/2014/main" id="{2BD9608F-579A-4E69-946E-738146576D95}"/>
                </a:ext>
              </a:extLst>
            </p:cNvPr>
            <p:cNvCxnSpPr/>
            <p:nvPr/>
          </p:nvCxnSpPr>
          <p:spPr>
            <a:xfrm>
              <a:off x="8001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Rett linje 121">
              <a:extLst>
                <a:ext uri="{FF2B5EF4-FFF2-40B4-BE49-F238E27FC236}">
                  <a16:creationId xmlns:a16="http://schemas.microsoft.com/office/drawing/2014/main" id="{7C61F4DE-2E50-462D-A392-B853CA21D799}"/>
                </a:ext>
              </a:extLst>
            </p:cNvPr>
            <p:cNvCxnSpPr/>
            <p:nvPr/>
          </p:nvCxnSpPr>
          <p:spPr>
            <a:xfrm>
              <a:off x="5715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Rett linje 122">
              <a:extLst>
                <a:ext uri="{FF2B5EF4-FFF2-40B4-BE49-F238E27FC236}">
                  <a16:creationId xmlns:a16="http://schemas.microsoft.com/office/drawing/2014/main" id="{C04DF60F-3682-4D29-A6CE-7D6AAA8FA5CC}"/>
                </a:ext>
              </a:extLst>
            </p:cNvPr>
            <p:cNvCxnSpPr/>
            <p:nvPr/>
          </p:nvCxnSpPr>
          <p:spPr>
            <a:xfrm>
              <a:off x="3429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Rett linje 123">
              <a:extLst>
                <a:ext uri="{FF2B5EF4-FFF2-40B4-BE49-F238E27FC236}">
                  <a16:creationId xmlns:a16="http://schemas.microsoft.com/office/drawing/2014/main" id="{E042CA0E-47DC-47FC-897F-70F70BFB366F}"/>
                </a:ext>
              </a:extLst>
            </p:cNvPr>
            <p:cNvCxnSpPr/>
            <p:nvPr/>
          </p:nvCxnSpPr>
          <p:spPr>
            <a:xfrm>
              <a:off x="1143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Rett linje 124">
              <a:extLst>
                <a:ext uri="{FF2B5EF4-FFF2-40B4-BE49-F238E27FC236}">
                  <a16:creationId xmlns:a16="http://schemas.microsoft.com/office/drawing/2014/main" id="{3863232C-D53F-48D6-A0E7-CC9B4C60E264}"/>
                </a:ext>
              </a:extLst>
            </p:cNvPr>
            <p:cNvCxnSpPr/>
            <p:nvPr/>
          </p:nvCxnSpPr>
          <p:spPr>
            <a:xfrm>
              <a:off x="8572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Rett linje 125">
              <a:extLst>
                <a:ext uri="{FF2B5EF4-FFF2-40B4-BE49-F238E27FC236}">
                  <a16:creationId xmlns:a16="http://schemas.microsoft.com/office/drawing/2014/main" id="{6275ADF1-B804-49A7-96BE-70D8AFECB88C}"/>
                </a:ext>
              </a:extLst>
            </p:cNvPr>
            <p:cNvCxnSpPr/>
            <p:nvPr/>
          </p:nvCxnSpPr>
          <p:spPr>
            <a:xfrm>
              <a:off x="7429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Rett linje 126">
              <a:extLst>
                <a:ext uri="{FF2B5EF4-FFF2-40B4-BE49-F238E27FC236}">
                  <a16:creationId xmlns:a16="http://schemas.microsoft.com/office/drawing/2014/main" id="{6A12681A-6F23-4F31-ACA4-1A2E0006D537}"/>
                </a:ext>
              </a:extLst>
            </p:cNvPr>
            <p:cNvCxnSpPr/>
            <p:nvPr/>
          </p:nvCxnSpPr>
          <p:spPr>
            <a:xfrm>
              <a:off x="6286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Rett linje 127">
              <a:extLst>
                <a:ext uri="{FF2B5EF4-FFF2-40B4-BE49-F238E27FC236}">
                  <a16:creationId xmlns:a16="http://schemas.microsoft.com/office/drawing/2014/main" id="{6CC3DE73-64F8-4D3E-B3A9-935C5F8AA878}"/>
                </a:ext>
              </a:extLst>
            </p:cNvPr>
            <p:cNvCxnSpPr/>
            <p:nvPr/>
          </p:nvCxnSpPr>
          <p:spPr>
            <a:xfrm>
              <a:off x="5143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Rett linje 128">
              <a:extLst>
                <a:ext uri="{FF2B5EF4-FFF2-40B4-BE49-F238E27FC236}">
                  <a16:creationId xmlns:a16="http://schemas.microsoft.com/office/drawing/2014/main" id="{FAC273D9-8153-4188-B7CA-F30670E78B13}"/>
                </a:ext>
              </a:extLst>
            </p:cNvPr>
            <p:cNvCxnSpPr/>
            <p:nvPr/>
          </p:nvCxnSpPr>
          <p:spPr>
            <a:xfrm>
              <a:off x="4000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Rett linje 129">
              <a:extLst>
                <a:ext uri="{FF2B5EF4-FFF2-40B4-BE49-F238E27FC236}">
                  <a16:creationId xmlns:a16="http://schemas.microsoft.com/office/drawing/2014/main" id="{916C3980-C8A1-45C7-AA35-A88DD771F2A1}"/>
                </a:ext>
              </a:extLst>
            </p:cNvPr>
            <p:cNvCxnSpPr/>
            <p:nvPr/>
          </p:nvCxnSpPr>
          <p:spPr>
            <a:xfrm>
              <a:off x="2857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Rett linje 130">
              <a:extLst>
                <a:ext uri="{FF2B5EF4-FFF2-40B4-BE49-F238E27FC236}">
                  <a16:creationId xmlns:a16="http://schemas.microsoft.com/office/drawing/2014/main" id="{E99AC163-1D5E-4BFA-BE31-B64B3B6121BF}"/>
                </a:ext>
              </a:extLst>
            </p:cNvPr>
            <p:cNvCxnSpPr/>
            <p:nvPr/>
          </p:nvCxnSpPr>
          <p:spPr>
            <a:xfrm>
              <a:off x="1714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Rett linje 131">
              <a:extLst>
                <a:ext uri="{FF2B5EF4-FFF2-40B4-BE49-F238E27FC236}">
                  <a16:creationId xmlns:a16="http://schemas.microsoft.com/office/drawing/2014/main" id="{E1A62F24-69EB-4117-B6FE-6407220526C9}"/>
                </a:ext>
              </a:extLst>
            </p:cNvPr>
            <p:cNvCxnSpPr/>
            <p:nvPr/>
          </p:nvCxnSpPr>
          <p:spPr>
            <a:xfrm>
              <a:off x="571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Bilde 30" descr="Et bilde som inneholder pil&#10;&#10;Automatisk generert beskrivelse">
            <a:extLst>
              <a:ext uri="{FF2B5EF4-FFF2-40B4-BE49-F238E27FC236}">
                <a16:creationId xmlns:a16="http://schemas.microsoft.com/office/drawing/2014/main" id="{2F5481A1-862F-4579-BADD-204FCE7BEC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0235" y="465044"/>
            <a:ext cx="1103884" cy="27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2821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slide - setup 1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lassholder for bilde 37">
            <a:extLst>
              <a:ext uri="{FF2B5EF4-FFF2-40B4-BE49-F238E27FC236}">
                <a16:creationId xmlns:a16="http://schemas.microsoft.com/office/drawing/2014/main" id="{F730DD19-D147-8749-9D91-DD7544913B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868" y="309034"/>
            <a:ext cx="11616265" cy="2927351"/>
          </a:xfrm>
          <a:prstGeom prst="rect">
            <a:avLst/>
          </a:prstGeom>
          <a:solidFill>
            <a:schemeClr val="accent1"/>
          </a:solidFill>
        </p:spPr>
        <p:txBody>
          <a:bodyPr wrap="square" lIns="1800000" tIns="1080000" rIns="1800000" bIns="360000" anchor="ctr" anchorCtr="0">
            <a:noAutofit/>
          </a:bodyPr>
          <a:lstStyle>
            <a:lvl1pPr marL="0" indent="0" algn="ctr"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nb-NO" err="1"/>
              <a:t>Insert</a:t>
            </a:r>
            <a:r>
              <a:rPr lang="nb-NO"/>
              <a:t> </a:t>
            </a:r>
            <a:r>
              <a:rPr lang="nb-NO" err="1"/>
              <a:t>picture</a:t>
            </a:r>
            <a:r>
              <a:rPr lang="nb-NO"/>
              <a:t> </a:t>
            </a:r>
            <a:r>
              <a:rPr lang="en-US" sz="1200"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 drag &amp; drop or insert picture </a:t>
            </a:r>
            <a:endParaRPr lang="nb-NO" noProof="1"/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94559044-034B-48A0-940E-492DC3DB6505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5360806" y="2528054"/>
            <a:ext cx="1482964" cy="1482964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C710D693-00AD-4A48-AC9C-A2CF013D61EC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628462" y="2515354"/>
            <a:ext cx="1482964" cy="1482964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5" name="Plassholder for tekst 2">
            <a:extLst>
              <a:ext uri="{FF2B5EF4-FFF2-40B4-BE49-F238E27FC236}">
                <a16:creationId xmlns:a16="http://schemas.microsoft.com/office/drawing/2014/main" id="{BC59C7B9-8BC7-46C7-8E41-F2EEB96BED55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>
          <a:xfrm>
            <a:off x="9189995" y="2515354"/>
            <a:ext cx="1482964" cy="1482964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480000"/>
            <a:ext cx="10858163" cy="8088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agenda </a:t>
            </a:r>
            <a:r>
              <a:rPr lang="nb-NO" noProof="0" err="1"/>
              <a:t>title</a:t>
            </a:r>
            <a:endParaRPr lang="en-US"/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71A44963-E7DC-42AE-B07F-24E15E6631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1054" y="4267201"/>
            <a:ext cx="3177117" cy="1293284"/>
          </a:xfrm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text</a:t>
            </a:r>
            <a:endParaRPr lang="nb-NO"/>
          </a:p>
        </p:txBody>
      </p:sp>
      <p:sp>
        <p:nvSpPr>
          <p:cNvPr id="25" name="TextBox 7">
            <a:extLst>
              <a:ext uri="{FF2B5EF4-FFF2-40B4-BE49-F238E27FC236}">
                <a16:creationId xmlns:a16="http://schemas.microsoft.com/office/drawing/2014/main" id="{6AB49929-9299-194A-9BE2-7462CE651148}"/>
              </a:ext>
            </a:extLst>
          </p:cNvPr>
          <p:cNvSpPr txBox="1"/>
          <p:nvPr/>
        </p:nvSpPr>
        <p:spPr>
          <a:xfrm>
            <a:off x="0" y="-383629"/>
            <a:ext cx="255905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b="1" noProof="1">
                <a:solidFill>
                  <a:schemeClr val="tx1"/>
                </a:solidFill>
              </a:rPr>
              <a:t>Agendaslide – setup 1 beige</a:t>
            </a:r>
            <a:endParaRPr lang="nb-NO" sz="1067" b="1" noProof="1">
              <a:solidFill>
                <a:schemeClr val="tx1"/>
              </a:solidFill>
            </a:endParaRPr>
          </a:p>
        </p:txBody>
      </p:sp>
      <p:sp>
        <p:nvSpPr>
          <p:cNvPr id="18" name="Plassholder for tekst 38">
            <a:extLst>
              <a:ext uri="{FF2B5EF4-FFF2-40B4-BE49-F238E27FC236}">
                <a16:creationId xmlns:a16="http://schemas.microsoft.com/office/drawing/2014/main" id="{BE7EBC6D-0869-4A2B-A2B3-92895F79D3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07915" y="4267201"/>
            <a:ext cx="3176171" cy="1292467"/>
          </a:xfrm>
          <a:solidFill>
            <a:schemeClr val="bg1"/>
          </a:solidFill>
        </p:spPr>
        <p:txBody>
          <a:bodyPr lIns="0" rIns="0" anchor="t" anchorCtr="0"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19" name="Plassholder for tekst 38">
            <a:extLst>
              <a:ext uri="{FF2B5EF4-FFF2-40B4-BE49-F238E27FC236}">
                <a16:creationId xmlns:a16="http://schemas.microsoft.com/office/drawing/2014/main" id="{0BDDDD5F-B39B-44CB-8590-41061AF520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53829" y="4267201"/>
            <a:ext cx="3176171" cy="1292467"/>
          </a:xfrm>
          <a:solidFill>
            <a:schemeClr val="bg1"/>
          </a:solidFill>
        </p:spPr>
        <p:txBody>
          <a:bodyPr lIns="0" rIns="0" anchor="t" anchorCtr="0"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239678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slide – setup 2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bilde 37">
            <a:extLst>
              <a:ext uri="{FF2B5EF4-FFF2-40B4-BE49-F238E27FC236}">
                <a16:creationId xmlns:a16="http://schemas.microsoft.com/office/drawing/2014/main" id="{C398AC14-078A-4F1F-8471-5B63939A5C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868" y="309034"/>
            <a:ext cx="11616265" cy="2927351"/>
          </a:xfrm>
          <a:prstGeom prst="rect">
            <a:avLst/>
          </a:prstGeom>
          <a:solidFill>
            <a:schemeClr val="accent3"/>
          </a:solidFill>
        </p:spPr>
        <p:txBody>
          <a:bodyPr wrap="square" lIns="1800000" tIns="1080000" rIns="1800000" bIns="360000" anchor="ctr" anchorCtr="0">
            <a:noAutofit/>
          </a:bodyPr>
          <a:lstStyle>
            <a:lvl1pPr marL="0" indent="0" algn="ctr"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nb-NO" err="1"/>
              <a:t>Insert</a:t>
            </a:r>
            <a:r>
              <a:rPr lang="nb-NO"/>
              <a:t> </a:t>
            </a:r>
            <a:r>
              <a:rPr lang="nb-NO" err="1"/>
              <a:t>picture</a:t>
            </a:r>
            <a:r>
              <a:rPr lang="nb-NO"/>
              <a:t> </a:t>
            </a:r>
            <a:r>
              <a:rPr lang="en-US" sz="1200"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 drag &amp; drop or insert picture </a:t>
            </a:r>
            <a:endParaRPr lang="nb-NO" noProof="1"/>
          </a:p>
        </p:txBody>
      </p:sp>
      <p:sp>
        <p:nvSpPr>
          <p:cNvPr id="16" name="Plassholder for tekst 2">
            <a:extLst>
              <a:ext uri="{FF2B5EF4-FFF2-40B4-BE49-F238E27FC236}">
                <a16:creationId xmlns:a16="http://schemas.microsoft.com/office/drawing/2014/main" id="{B021767D-2FFD-4771-AC77-5B9886090C38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5360806" y="2528054"/>
            <a:ext cx="1482964" cy="1482964"/>
          </a:xfrm>
          <a:prstGeom prst="ellipse">
            <a:avLst/>
          </a:prstGeom>
          <a:solidFill>
            <a:schemeClr val="accent4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7" name="Plassholder for tekst 2">
            <a:extLst>
              <a:ext uri="{FF2B5EF4-FFF2-40B4-BE49-F238E27FC236}">
                <a16:creationId xmlns:a16="http://schemas.microsoft.com/office/drawing/2014/main" id="{B12F62A4-A6D9-4E91-99FB-18D5B7F1F75F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628462" y="2515354"/>
            <a:ext cx="1482964" cy="1482964"/>
          </a:xfrm>
          <a:prstGeom prst="ellipse">
            <a:avLst/>
          </a:prstGeom>
          <a:solidFill>
            <a:schemeClr val="accent4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8" name="Plassholder for tekst 2">
            <a:extLst>
              <a:ext uri="{FF2B5EF4-FFF2-40B4-BE49-F238E27FC236}">
                <a16:creationId xmlns:a16="http://schemas.microsoft.com/office/drawing/2014/main" id="{21718737-1C90-4D2B-81D7-D6EAC5CB0182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>
          <a:xfrm>
            <a:off x="9189995" y="2515354"/>
            <a:ext cx="1482964" cy="1482964"/>
          </a:xfrm>
          <a:prstGeom prst="ellipse">
            <a:avLst/>
          </a:prstGeom>
          <a:solidFill>
            <a:schemeClr val="accent4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39" name="Plassholder for tekst 38">
            <a:extLst>
              <a:ext uri="{FF2B5EF4-FFF2-40B4-BE49-F238E27FC236}">
                <a16:creationId xmlns:a16="http://schemas.microsoft.com/office/drawing/2014/main" id="{D22A9800-9791-6B4F-88E0-3B2645E92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4267201"/>
            <a:ext cx="3176171" cy="1292467"/>
          </a:xfrm>
          <a:solidFill>
            <a:schemeClr val="bg1"/>
          </a:solidFill>
        </p:spPr>
        <p:txBody>
          <a:bodyPr lIns="0" rIns="0" anchor="t" anchorCtr="0"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480000"/>
            <a:ext cx="11099800" cy="8088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agenda </a:t>
            </a:r>
            <a:r>
              <a:rPr lang="nb-NO" noProof="0" err="1"/>
              <a:t>title</a:t>
            </a:r>
            <a:endParaRPr lang="en-US"/>
          </a:p>
        </p:txBody>
      </p:sp>
      <p:sp>
        <p:nvSpPr>
          <p:cNvPr id="43" name="Plassholder for tekst 38">
            <a:extLst>
              <a:ext uri="{FF2B5EF4-FFF2-40B4-BE49-F238E27FC236}">
                <a16:creationId xmlns:a16="http://schemas.microsoft.com/office/drawing/2014/main" id="{43E7E89C-6DBB-E84A-B21F-3A50B04E8E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07915" y="4267201"/>
            <a:ext cx="3176171" cy="1292467"/>
          </a:xfrm>
          <a:solidFill>
            <a:schemeClr val="bg1"/>
          </a:solidFill>
        </p:spPr>
        <p:txBody>
          <a:bodyPr lIns="0" rIns="0" anchor="t" anchorCtr="0"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45" name="Plassholder for tekst 38">
            <a:extLst>
              <a:ext uri="{FF2B5EF4-FFF2-40B4-BE49-F238E27FC236}">
                <a16:creationId xmlns:a16="http://schemas.microsoft.com/office/drawing/2014/main" id="{80BBA60E-4A74-334A-AE74-3581A72383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53829" y="4267201"/>
            <a:ext cx="3176171" cy="1292467"/>
          </a:xfrm>
          <a:solidFill>
            <a:schemeClr val="bg1"/>
          </a:solidFill>
        </p:spPr>
        <p:txBody>
          <a:bodyPr lIns="0" rIns="0" anchor="t" anchorCtr="0"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25" name="TextBox 7">
            <a:extLst>
              <a:ext uri="{FF2B5EF4-FFF2-40B4-BE49-F238E27FC236}">
                <a16:creationId xmlns:a16="http://schemas.microsoft.com/office/drawing/2014/main" id="{6AB49929-9299-194A-9BE2-7462CE651148}"/>
              </a:ext>
            </a:extLst>
          </p:cNvPr>
          <p:cNvSpPr txBox="1"/>
          <p:nvPr/>
        </p:nvSpPr>
        <p:spPr>
          <a:xfrm>
            <a:off x="0" y="-383629"/>
            <a:ext cx="255905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b="1" noProof="1">
                <a:solidFill>
                  <a:schemeClr val="tx1"/>
                </a:solidFill>
              </a:rPr>
              <a:t>Agendaslide – setup 1 green</a:t>
            </a:r>
            <a:endParaRPr lang="nb-NO" sz="1067" b="1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106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slide – setup 3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lassholder for tekst 38">
            <a:extLst>
              <a:ext uri="{FF2B5EF4-FFF2-40B4-BE49-F238E27FC236}">
                <a16:creationId xmlns:a16="http://schemas.microsoft.com/office/drawing/2014/main" id="{43E7E89C-6DBB-E84A-B21F-3A50B04E8E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3939" y="1999948"/>
            <a:ext cx="4128000" cy="1238400"/>
          </a:xfrm>
          <a:solidFill>
            <a:schemeClr val="accent1"/>
          </a:solidFill>
        </p:spPr>
        <p:txBody>
          <a:bodyPr lIns="720000" rIns="360000" anchor="ctr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45" name="Plassholder for tekst 38">
            <a:extLst>
              <a:ext uri="{FF2B5EF4-FFF2-40B4-BE49-F238E27FC236}">
                <a16:creationId xmlns:a16="http://schemas.microsoft.com/office/drawing/2014/main" id="{80BBA60E-4A74-334A-AE74-3581A72383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001" y="3701748"/>
            <a:ext cx="4128000" cy="1238400"/>
          </a:xfrm>
          <a:solidFill>
            <a:schemeClr val="accent1"/>
          </a:solidFill>
        </p:spPr>
        <p:txBody>
          <a:bodyPr lIns="720000" rIns="360000" anchor="ctr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47" name="Plassholder for tekst 38">
            <a:extLst>
              <a:ext uri="{FF2B5EF4-FFF2-40B4-BE49-F238E27FC236}">
                <a16:creationId xmlns:a16="http://schemas.microsoft.com/office/drawing/2014/main" id="{AF413D6D-AF1C-C54E-9BB4-53E024C796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63939" y="3701748"/>
            <a:ext cx="4128000" cy="1238400"/>
          </a:xfrm>
          <a:solidFill>
            <a:schemeClr val="accent1"/>
          </a:solidFill>
        </p:spPr>
        <p:txBody>
          <a:bodyPr lIns="720000" rIns="360000" anchor="ctr"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17" name="Plassholder for tekst 2">
            <a:extLst>
              <a:ext uri="{FF2B5EF4-FFF2-40B4-BE49-F238E27FC236}">
                <a16:creationId xmlns:a16="http://schemas.microsoft.com/office/drawing/2014/main" id="{29449F7D-8B18-4021-949D-82256DF018AD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6088515" y="1999948"/>
            <a:ext cx="1238400" cy="1238400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8" name="Plassholder for tekst 2">
            <a:extLst>
              <a:ext uri="{FF2B5EF4-FFF2-40B4-BE49-F238E27FC236}">
                <a16:creationId xmlns:a16="http://schemas.microsoft.com/office/drawing/2014/main" id="{AE867430-55E1-42F5-BA77-8049FA7359BD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788300" y="3701748"/>
            <a:ext cx="1238400" cy="1238400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9" name="Plassholder for tekst 2">
            <a:extLst>
              <a:ext uri="{FF2B5EF4-FFF2-40B4-BE49-F238E27FC236}">
                <a16:creationId xmlns:a16="http://schemas.microsoft.com/office/drawing/2014/main" id="{4FBE0EED-85D7-4062-BCC6-02E88492136C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6101215" y="3701748"/>
            <a:ext cx="1238400" cy="1238400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39" name="Plassholder for tekst 38">
            <a:extLst>
              <a:ext uri="{FF2B5EF4-FFF2-40B4-BE49-F238E27FC236}">
                <a16:creationId xmlns:a16="http://schemas.microsoft.com/office/drawing/2014/main" id="{D22A9800-9791-6B4F-88E0-3B2645E92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43001" y="1999948"/>
            <a:ext cx="4128000" cy="1238400"/>
          </a:xfrm>
          <a:solidFill>
            <a:schemeClr val="accent1"/>
          </a:solidFill>
        </p:spPr>
        <p:txBody>
          <a:bodyPr lIns="720000" rIns="360000" anchor="ctr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673884C8-07EC-449C-BD35-0D20232E69E3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775600" y="1999948"/>
            <a:ext cx="1238400" cy="1238400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1999" y="480000"/>
            <a:ext cx="11112500" cy="808800"/>
          </a:xfrm>
        </p:spPr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agenda </a:t>
            </a:r>
            <a:r>
              <a:rPr lang="nb-NO" noProof="0" err="1"/>
              <a:t>title</a:t>
            </a:r>
            <a:endParaRPr lang="en-US"/>
          </a:p>
        </p:txBody>
      </p:sp>
      <p:sp>
        <p:nvSpPr>
          <p:cNvPr id="50" name="TextBox 7">
            <a:extLst>
              <a:ext uri="{FF2B5EF4-FFF2-40B4-BE49-F238E27FC236}">
                <a16:creationId xmlns:a16="http://schemas.microsoft.com/office/drawing/2014/main" id="{62D837F8-1F4F-6E4E-90FD-997685D05A81}"/>
              </a:ext>
            </a:extLst>
          </p:cNvPr>
          <p:cNvSpPr txBox="1"/>
          <p:nvPr/>
        </p:nvSpPr>
        <p:spPr>
          <a:xfrm>
            <a:off x="0" y="-383629"/>
            <a:ext cx="248285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b="1" noProof="1">
                <a:solidFill>
                  <a:schemeClr val="tx1"/>
                </a:solidFill>
              </a:rPr>
              <a:t>Agendaslide – setup 3 beige</a:t>
            </a:r>
            <a:endParaRPr lang="nb-NO" sz="1067" b="1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104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B9963-950F-4C2A-8AA7-38B7470BB7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78FABB-32EE-42D6-9DA1-BD92694D20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B568F0-6702-43E5-9D37-DCB9AC14AA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507B3-A042-4A5E-8936-819950A190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81368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slide – setup 4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lassholder for tekst 38">
            <a:extLst>
              <a:ext uri="{FF2B5EF4-FFF2-40B4-BE49-F238E27FC236}">
                <a16:creationId xmlns:a16="http://schemas.microsoft.com/office/drawing/2014/main" id="{43E7E89C-6DBB-E84A-B21F-3A50B04E8E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63939" y="1999948"/>
            <a:ext cx="4128000" cy="1238400"/>
          </a:xfrm>
          <a:solidFill>
            <a:srgbClr val="C6E7C1">
              <a:alpha val="60000"/>
            </a:srgbClr>
          </a:solidFill>
        </p:spPr>
        <p:txBody>
          <a:bodyPr lIns="720000" rIns="360000" anchor="ctr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45" name="Plassholder for tekst 38">
            <a:extLst>
              <a:ext uri="{FF2B5EF4-FFF2-40B4-BE49-F238E27FC236}">
                <a16:creationId xmlns:a16="http://schemas.microsoft.com/office/drawing/2014/main" id="{80BBA60E-4A74-334A-AE74-3581A72383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001" y="3701748"/>
            <a:ext cx="4128000" cy="1238400"/>
          </a:xfrm>
          <a:solidFill>
            <a:srgbClr val="C6E7C1">
              <a:alpha val="60000"/>
            </a:srgbClr>
          </a:solidFill>
        </p:spPr>
        <p:txBody>
          <a:bodyPr lIns="720000" rIns="360000" anchor="ctr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47" name="Plassholder for tekst 38">
            <a:extLst>
              <a:ext uri="{FF2B5EF4-FFF2-40B4-BE49-F238E27FC236}">
                <a16:creationId xmlns:a16="http://schemas.microsoft.com/office/drawing/2014/main" id="{AF413D6D-AF1C-C54E-9BB4-53E024C796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63939" y="3701748"/>
            <a:ext cx="4128000" cy="1238400"/>
          </a:xfrm>
          <a:solidFill>
            <a:srgbClr val="C6E7C1">
              <a:alpha val="60000"/>
            </a:srgbClr>
          </a:solidFill>
        </p:spPr>
        <p:txBody>
          <a:bodyPr lIns="720000" rIns="360000" anchor="ctr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17" name="Plassholder for tekst 2">
            <a:extLst>
              <a:ext uri="{FF2B5EF4-FFF2-40B4-BE49-F238E27FC236}">
                <a16:creationId xmlns:a16="http://schemas.microsoft.com/office/drawing/2014/main" id="{29449F7D-8B18-4021-949D-82256DF018AD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6094053" y="1999948"/>
            <a:ext cx="1238400" cy="1238400"/>
          </a:xfrm>
          <a:prstGeom prst="ellipse">
            <a:avLst/>
          </a:prstGeom>
          <a:solidFill>
            <a:srgbClr val="C6E7C1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8" name="Plassholder for tekst 2">
            <a:extLst>
              <a:ext uri="{FF2B5EF4-FFF2-40B4-BE49-F238E27FC236}">
                <a16:creationId xmlns:a16="http://schemas.microsoft.com/office/drawing/2014/main" id="{AE867430-55E1-42F5-BA77-8049FA7359BD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793839" y="3701748"/>
            <a:ext cx="1238400" cy="1238400"/>
          </a:xfrm>
          <a:prstGeom prst="ellipse">
            <a:avLst/>
          </a:prstGeom>
          <a:solidFill>
            <a:srgbClr val="C6E7C1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19" name="Plassholder for tekst 2">
            <a:extLst>
              <a:ext uri="{FF2B5EF4-FFF2-40B4-BE49-F238E27FC236}">
                <a16:creationId xmlns:a16="http://schemas.microsoft.com/office/drawing/2014/main" id="{4FBE0EED-85D7-4062-BCC6-02E88492136C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6106753" y="3701748"/>
            <a:ext cx="1238400" cy="1238400"/>
          </a:xfrm>
          <a:prstGeom prst="ellipse">
            <a:avLst/>
          </a:prstGeom>
          <a:solidFill>
            <a:srgbClr val="C6E7C1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39" name="Plassholder for tekst 38">
            <a:extLst>
              <a:ext uri="{FF2B5EF4-FFF2-40B4-BE49-F238E27FC236}">
                <a16:creationId xmlns:a16="http://schemas.microsoft.com/office/drawing/2014/main" id="{D22A9800-9791-6B4F-88E0-3B2645E92D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43001" y="1999948"/>
            <a:ext cx="4128000" cy="1238400"/>
          </a:xfrm>
          <a:solidFill>
            <a:srgbClr val="C6E7C1">
              <a:alpha val="60000"/>
            </a:srgbClr>
          </a:solidFill>
        </p:spPr>
        <p:txBody>
          <a:bodyPr lIns="720000" rIns="360000" anchor="ctr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Add</a:t>
            </a:r>
            <a:r>
              <a:rPr lang="sv-SE"/>
              <a:t> text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673884C8-07EC-449C-BD35-0D20232E69E3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781139" y="1999948"/>
            <a:ext cx="1238400" cy="1238400"/>
          </a:xfrm>
          <a:prstGeom prst="ellipse">
            <a:avLst/>
          </a:prstGeom>
          <a:solidFill>
            <a:srgbClr val="C6E7C1"/>
          </a:solidFill>
        </p:spPr>
        <p:txBody>
          <a:bodyPr anchor="ctr" anchorCtr="0">
            <a:normAutofit/>
          </a:bodyPr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3733"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1999" y="480000"/>
            <a:ext cx="11112500" cy="808800"/>
          </a:xfrm>
        </p:spPr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agenda </a:t>
            </a:r>
            <a:r>
              <a:rPr lang="nb-NO" noProof="0" err="1"/>
              <a:t>title</a:t>
            </a:r>
            <a:endParaRPr lang="en-US"/>
          </a:p>
        </p:txBody>
      </p:sp>
      <p:sp>
        <p:nvSpPr>
          <p:cNvPr id="50" name="TextBox 7">
            <a:extLst>
              <a:ext uri="{FF2B5EF4-FFF2-40B4-BE49-F238E27FC236}">
                <a16:creationId xmlns:a16="http://schemas.microsoft.com/office/drawing/2014/main" id="{62D837F8-1F4F-6E4E-90FD-997685D05A81}"/>
              </a:ext>
            </a:extLst>
          </p:cNvPr>
          <p:cNvSpPr txBox="1"/>
          <p:nvPr/>
        </p:nvSpPr>
        <p:spPr>
          <a:xfrm>
            <a:off x="-1" y="-383629"/>
            <a:ext cx="3725335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b="1" noProof="1">
                <a:solidFill>
                  <a:schemeClr val="tx1"/>
                </a:solidFill>
              </a:rPr>
              <a:t>Agendaslide – setup 4 green</a:t>
            </a:r>
            <a:endParaRPr lang="nb-NO" sz="1067" b="1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4375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slide - setup 5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95481CE-1CC2-41E7-813C-320202B87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agenda </a:t>
            </a:r>
            <a:r>
              <a:rPr lang="nb-NO" noProof="0" err="1"/>
              <a:t>title</a:t>
            </a:r>
            <a:endParaRPr lang="nb-NO"/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2DDB8CF1-8C48-4FB0-A7BA-48E7CA8E56C9}"/>
              </a:ext>
            </a:extLst>
          </p:cNvPr>
          <p:cNvSpPr txBox="1"/>
          <p:nvPr/>
        </p:nvSpPr>
        <p:spPr>
          <a:xfrm>
            <a:off x="0" y="-383629"/>
            <a:ext cx="248285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>
                <a:solidFill>
                  <a:schemeClr val="tx1"/>
                </a:solidFill>
              </a:rPr>
              <a:t>Agenda – tex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E90C39F-69DB-4675-9202-04968B5509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1617602"/>
            <a:ext cx="11099800" cy="4306949"/>
          </a:xfrm>
          <a:prstGeom prst="rect">
            <a:avLst/>
          </a:prstGeom>
        </p:spPr>
        <p:txBody>
          <a:bodyPr vert="horz" lIns="0" tIns="0" rIns="0" bIns="45720" rtlCol="0">
            <a:normAutofit/>
          </a:bodyPr>
          <a:lstStyle>
            <a:lvl1pPr marL="457189" indent="-457189">
              <a:buClr>
                <a:srgbClr val="C00000"/>
              </a:buClr>
              <a:buFont typeface="+mj-lt"/>
              <a:buAutoNum type="arabicPeriod"/>
              <a:defRPr sz="2400"/>
            </a:lvl1pPr>
            <a:lvl2pPr marL="496788" indent="-304792">
              <a:buClr>
                <a:schemeClr val="tx1"/>
              </a:buClr>
              <a:buFont typeface="Arial" panose="020B0604020202020204" pitchFamily="34" charset="0"/>
              <a:buChar char="•"/>
              <a:defRPr sz="2133"/>
            </a:lvl2pPr>
            <a:lvl3pPr marL="675166" indent="-304792">
              <a:buClr>
                <a:schemeClr val="tx1"/>
              </a:buClr>
              <a:buFont typeface="Arial" panose="020B0604020202020204" pitchFamily="34" charset="0"/>
              <a:buChar char="•"/>
              <a:defRPr sz="2133"/>
            </a:lvl3pPr>
            <a:lvl4pPr marL="857228" indent="-304792">
              <a:buClr>
                <a:schemeClr val="tx1"/>
              </a:buClr>
              <a:buFont typeface="Arial" panose="020B0604020202020204" pitchFamily="34" charset="0"/>
              <a:buChar char="•"/>
              <a:defRPr sz="1867"/>
            </a:lvl4pPr>
            <a:lvl5pPr marL="1024441" indent="-304792">
              <a:buClr>
                <a:schemeClr val="tx1"/>
              </a:buClr>
              <a:buFont typeface="Arial" panose="020B0604020202020204" pitchFamily="34" charset="0"/>
              <a:buChar char="•"/>
              <a:defRPr sz="1867"/>
            </a:lvl5pPr>
          </a:lstStyle>
          <a:p>
            <a:pPr lvl="0"/>
            <a:r>
              <a:rPr lang="nb-NO" noProof="0" dirty="0" err="1"/>
              <a:t>Text</a:t>
            </a:r>
            <a:r>
              <a:rPr lang="nb-NO" noProof="0" dirty="0"/>
              <a:t> first </a:t>
            </a:r>
            <a:r>
              <a:rPr lang="nb-NO" noProof="0" dirty="0" err="1"/>
              <a:t>level</a:t>
            </a:r>
            <a:r>
              <a:rPr lang="nb-NO" noProof="0" dirty="0"/>
              <a:t>, </a:t>
            </a:r>
            <a:r>
              <a:rPr lang="nb-NO" noProof="0" dirty="0" err="1"/>
              <a:t>use</a:t>
            </a:r>
            <a:r>
              <a:rPr lang="nb-NO" noProof="0" dirty="0"/>
              <a:t> </a:t>
            </a:r>
            <a:r>
              <a:rPr lang="nb-NO" noProof="0" dirty="0" err="1"/>
              <a:t>indent</a:t>
            </a:r>
            <a:r>
              <a:rPr lang="nb-NO" noProof="0" dirty="0"/>
              <a:t> for sub </a:t>
            </a:r>
            <a:r>
              <a:rPr lang="nb-NO" noProof="0" dirty="0" err="1"/>
              <a:t>levels</a:t>
            </a:r>
            <a:endParaRPr lang="nb-NO" noProof="0" dirty="0"/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18161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480000"/>
            <a:ext cx="10820400" cy="8088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2000" y="1617602"/>
            <a:ext cx="10820400" cy="43069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aseline="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dirty="0" err="1"/>
              <a:t>Text</a:t>
            </a:r>
            <a:r>
              <a:rPr lang="nb-NO" noProof="0" dirty="0"/>
              <a:t> first </a:t>
            </a:r>
            <a:r>
              <a:rPr lang="nb-NO" noProof="0" dirty="0" err="1"/>
              <a:t>level</a:t>
            </a:r>
            <a:r>
              <a:rPr lang="nb-NO" noProof="0" dirty="0"/>
              <a:t>, </a:t>
            </a:r>
            <a:r>
              <a:rPr lang="nb-NO" noProof="0" dirty="0" err="1"/>
              <a:t>use</a:t>
            </a:r>
            <a:r>
              <a:rPr lang="nb-NO" noProof="0" dirty="0"/>
              <a:t> </a:t>
            </a:r>
            <a:r>
              <a:rPr lang="nb-NO" noProof="0" dirty="0" err="1"/>
              <a:t>indent</a:t>
            </a:r>
            <a:r>
              <a:rPr lang="nb-NO" noProof="0" dirty="0"/>
              <a:t> for sub </a:t>
            </a:r>
            <a:r>
              <a:rPr lang="nb-NO" noProof="0" dirty="0" err="1"/>
              <a:t>levels</a:t>
            </a:r>
            <a:endParaRPr lang="nb-NO" noProof="0" dirty="0"/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2328733" y="1"/>
            <a:ext cx="1862600" cy="30481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Innholdsfeltet kan brukes til tekst eller andre</a:t>
            </a:r>
            <a:r>
              <a:rPr lang="nb-NO" sz="1067" baseline="0" noProof="1"/>
              <a:t> element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Vær</a:t>
            </a:r>
            <a:r>
              <a:rPr lang="nb-NO" sz="1067" baseline="0" noProof="1"/>
              <a:t> oppmerksom på at det finnes egne layoutmaler for heldekkende, utfallende bilder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NB!</a:t>
            </a:r>
            <a:r>
              <a:rPr lang="nb-NO" sz="1067" b="1" baseline="0" noProof="1"/>
              <a:t> </a:t>
            </a:r>
            <a:r>
              <a:rPr lang="nb-NO" sz="1067" noProof="1"/>
              <a:t>Slå</a:t>
            </a:r>
            <a:r>
              <a:rPr lang="nb-NO" sz="1067" baseline="0" noProof="1"/>
              <a:t> gjerne av bullets dersom det ikke er hensiktsmessig med bullets foran hver tekstlinje.</a:t>
            </a: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EDD9A8B8-9E9C-9B4A-8337-0CBFBFC32B95}"/>
              </a:ext>
            </a:extLst>
          </p:cNvPr>
          <p:cNvSpPr txBox="1"/>
          <p:nvPr/>
        </p:nvSpPr>
        <p:spPr>
          <a:xfrm>
            <a:off x="0" y="-383629"/>
            <a:ext cx="342971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itle and content – text only</a:t>
            </a:r>
          </a:p>
        </p:txBody>
      </p:sp>
    </p:spTree>
    <p:extLst>
      <p:ext uri="{BB962C8B-B14F-4D97-AF65-F5344CB8AC3E}">
        <p14:creationId xmlns:p14="http://schemas.microsoft.com/office/powerpoint/2010/main" val="3756148871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am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480000"/>
            <a:ext cx="10820400" cy="8088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2328733" y="1"/>
            <a:ext cx="1862600" cy="30481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Innholdsfeltet kan brukes til tekst eller andre</a:t>
            </a:r>
            <a:r>
              <a:rPr lang="nb-NO" sz="1067" baseline="0" noProof="1"/>
              <a:t> element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Vær</a:t>
            </a:r>
            <a:r>
              <a:rPr lang="nb-NO" sz="1067" baseline="0" noProof="1"/>
              <a:t> oppmerksom på at det finnes egne layoutmaler for heldekkende, utfallende bilder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NB!</a:t>
            </a:r>
            <a:r>
              <a:rPr lang="nb-NO" sz="1067" b="1" baseline="0" noProof="1"/>
              <a:t> </a:t>
            </a:r>
            <a:r>
              <a:rPr lang="nb-NO" sz="1067" noProof="1"/>
              <a:t>Slå</a:t>
            </a:r>
            <a:r>
              <a:rPr lang="nb-NO" sz="1067" baseline="0" noProof="1"/>
              <a:t> gjerne av bullets dersom det ikke er hensiktsmessig med bullets foran hver tekstlinje.</a:t>
            </a: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EDD9A8B8-9E9C-9B4A-8337-0CBFBFC32B95}"/>
              </a:ext>
            </a:extLst>
          </p:cNvPr>
          <p:cNvSpPr txBox="1"/>
          <p:nvPr/>
        </p:nvSpPr>
        <p:spPr>
          <a:xfrm>
            <a:off x="0" y="-383629"/>
            <a:ext cx="342971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itle and team presentation</a:t>
            </a:r>
          </a:p>
        </p:txBody>
      </p:sp>
      <p:sp>
        <p:nvSpPr>
          <p:cNvPr id="47" name="Plassholder for bilde 14">
            <a:extLst>
              <a:ext uri="{FF2B5EF4-FFF2-40B4-BE49-F238E27FC236}">
                <a16:creationId xmlns:a16="http://schemas.microsoft.com/office/drawing/2014/main" id="{12AB5CF8-7129-478C-885D-AE4D02F6E3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2001" y="1679392"/>
            <a:ext cx="1417905" cy="1416552"/>
          </a:xfrm>
          <a:custGeom>
            <a:avLst/>
            <a:gdLst>
              <a:gd name="connsiteX0" fmla="*/ 674696 w 1375442"/>
              <a:gd name="connsiteY0" fmla="*/ 0 h 1374129"/>
              <a:gd name="connsiteX1" fmla="*/ 700746 w 1375442"/>
              <a:gd name="connsiteY1" fmla="*/ 0 h 1374129"/>
              <a:gd name="connsiteX2" fmla="*/ 826321 w 1375442"/>
              <a:gd name="connsiteY2" fmla="*/ 12659 h 1374129"/>
              <a:gd name="connsiteX3" fmla="*/ 1375442 w 1375442"/>
              <a:gd name="connsiteY3" fmla="*/ 686408 h 1374129"/>
              <a:gd name="connsiteX4" fmla="*/ 687721 w 1375442"/>
              <a:gd name="connsiteY4" fmla="*/ 1374129 h 1374129"/>
              <a:gd name="connsiteX5" fmla="*/ 0 w 1375442"/>
              <a:gd name="connsiteY5" fmla="*/ 686408 h 1374129"/>
              <a:gd name="connsiteX6" fmla="*/ 549121 w 1375442"/>
              <a:gd name="connsiteY6" fmla="*/ 12659 h 1374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75442" h="1374129">
                <a:moveTo>
                  <a:pt x="674696" y="0"/>
                </a:moveTo>
                <a:lnTo>
                  <a:pt x="700746" y="0"/>
                </a:lnTo>
                <a:lnTo>
                  <a:pt x="826321" y="12659"/>
                </a:lnTo>
                <a:cubicBezTo>
                  <a:pt x="1139704" y="76787"/>
                  <a:pt x="1375442" y="354067"/>
                  <a:pt x="1375442" y="686408"/>
                </a:cubicBezTo>
                <a:cubicBezTo>
                  <a:pt x="1375442" y="1066226"/>
                  <a:pt x="1067539" y="1374129"/>
                  <a:pt x="687721" y="1374129"/>
                </a:cubicBezTo>
                <a:cubicBezTo>
                  <a:pt x="307903" y="1374129"/>
                  <a:pt x="0" y="1066226"/>
                  <a:pt x="0" y="686408"/>
                </a:cubicBezTo>
                <a:cubicBezTo>
                  <a:pt x="0" y="354067"/>
                  <a:pt x="235738" y="76787"/>
                  <a:pt x="549121" y="12659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 anchorCtr="0">
            <a:noAutofit/>
          </a:bodyPr>
          <a:lstStyle>
            <a:lvl1pPr algn="ctr">
              <a:defRPr sz="1333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8" name="Plassholder for bilde 16">
            <a:extLst>
              <a:ext uri="{FF2B5EF4-FFF2-40B4-BE49-F238E27FC236}">
                <a16:creationId xmlns:a16="http://schemas.microsoft.com/office/drawing/2014/main" id="{330099D6-2560-428C-9912-D91D84708BC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17301" y="1679392"/>
            <a:ext cx="1417905" cy="1416552"/>
          </a:xfrm>
          <a:custGeom>
            <a:avLst/>
            <a:gdLst>
              <a:gd name="connsiteX0" fmla="*/ 674696 w 1375442"/>
              <a:gd name="connsiteY0" fmla="*/ 0 h 1374129"/>
              <a:gd name="connsiteX1" fmla="*/ 700746 w 1375442"/>
              <a:gd name="connsiteY1" fmla="*/ 0 h 1374129"/>
              <a:gd name="connsiteX2" fmla="*/ 826321 w 1375442"/>
              <a:gd name="connsiteY2" fmla="*/ 12659 h 1374129"/>
              <a:gd name="connsiteX3" fmla="*/ 1375442 w 1375442"/>
              <a:gd name="connsiteY3" fmla="*/ 686408 h 1374129"/>
              <a:gd name="connsiteX4" fmla="*/ 687721 w 1375442"/>
              <a:gd name="connsiteY4" fmla="*/ 1374129 h 1374129"/>
              <a:gd name="connsiteX5" fmla="*/ 0 w 1375442"/>
              <a:gd name="connsiteY5" fmla="*/ 686408 h 1374129"/>
              <a:gd name="connsiteX6" fmla="*/ 549121 w 1375442"/>
              <a:gd name="connsiteY6" fmla="*/ 12659 h 1374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75442" h="1374129">
                <a:moveTo>
                  <a:pt x="674696" y="0"/>
                </a:moveTo>
                <a:lnTo>
                  <a:pt x="700746" y="0"/>
                </a:lnTo>
                <a:lnTo>
                  <a:pt x="826321" y="12659"/>
                </a:lnTo>
                <a:cubicBezTo>
                  <a:pt x="1139704" y="76787"/>
                  <a:pt x="1375442" y="354067"/>
                  <a:pt x="1375442" y="686408"/>
                </a:cubicBezTo>
                <a:cubicBezTo>
                  <a:pt x="1375442" y="1066226"/>
                  <a:pt x="1067539" y="1374129"/>
                  <a:pt x="687721" y="1374129"/>
                </a:cubicBezTo>
                <a:cubicBezTo>
                  <a:pt x="307903" y="1374129"/>
                  <a:pt x="0" y="1066226"/>
                  <a:pt x="0" y="686408"/>
                </a:cubicBezTo>
                <a:cubicBezTo>
                  <a:pt x="0" y="354067"/>
                  <a:pt x="235738" y="76787"/>
                  <a:pt x="549121" y="12659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 anchorCtr="0">
            <a:noAutofit/>
          </a:bodyPr>
          <a:lstStyle>
            <a:lvl1pPr algn="ctr">
              <a:defRPr sz="1333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9" name="Plassholder for bilde 18">
            <a:extLst>
              <a:ext uri="{FF2B5EF4-FFF2-40B4-BE49-F238E27FC236}">
                <a16:creationId xmlns:a16="http://schemas.microsoft.com/office/drawing/2014/main" id="{B1DC65BC-775F-4981-B78A-EBA2671DD98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872601" y="1679392"/>
            <a:ext cx="1417905" cy="1416552"/>
          </a:xfrm>
          <a:custGeom>
            <a:avLst/>
            <a:gdLst>
              <a:gd name="connsiteX0" fmla="*/ 674696 w 1375442"/>
              <a:gd name="connsiteY0" fmla="*/ 0 h 1374129"/>
              <a:gd name="connsiteX1" fmla="*/ 700746 w 1375442"/>
              <a:gd name="connsiteY1" fmla="*/ 0 h 1374129"/>
              <a:gd name="connsiteX2" fmla="*/ 826321 w 1375442"/>
              <a:gd name="connsiteY2" fmla="*/ 12659 h 1374129"/>
              <a:gd name="connsiteX3" fmla="*/ 1375442 w 1375442"/>
              <a:gd name="connsiteY3" fmla="*/ 686408 h 1374129"/>
              <a:gd name="connsiteX4" fmla="*/ 687721 w 1375442"/>
              <a:gd name="connsiteY4" fmla="*/ 1374129 h 1374129"/>
              <a:gd name="connsiteX5" fmla="*/ 0 w 1375442"/>
              <a:gd name="connsiteY5" fmla="*/ 686408 h 1374129"/>
              <a:gd name="connsiteX6" fmla="*/ 549121 w 1375442"/>
              <a:gd name="connsiteY6" fmla="*/ 12659 h 1374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75442" h="1374129">
                <a:moveTo>
                  <a:pt x="674696" y="0"/>
                </a:moveTo>
                <a:lnTo>
                  <a:pt x="700746" y="0"/>
                </a:lnTo>
                <a:lnTo>
                  <a:pt x="826321" y="12659"/>
                </a:lnTo>
                <a:cubicBezTo>
                  <a:pt x="1139704" y="76787"/>
                  <a:pt x="1375442" y="354067"/>
                  <a:pt x="1375442" y="686408"/>
                </a:cubicBezTo>
                <a:cubicBezTo>
                  <a:pt x="1375442" y="1066226"/>
                  <a:pt x="1067539" y="1374129"/>
                  <a:pt x="687721" y="1374129"/>
                </a:cubicBezTo>
                <a:cubicBezTo>
                  <a:pt x="307903" y="1374129"/>
                  <a:pt x="0" y="1066226"/>
                  <a:pt x="0" y="686408"/>
                </a:cubicBezTo>
                <a:cubicBezTo>
                  <a:pt x="0" y="354067"/>
                  <a:pt x="235738" y="76787"/>
                  <a:pt x="549121" y="12659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 anchorCtr="0">
            <a:noAutofit/>
          </a:bodyPr>
          <a:lstStyle>
            <a:lvl1pPr algn="ctr">
              <a:defRPr sz="1333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50" name="Plassholder for tekst 3">
            <a:extLst>
              <a:ext uri="{FF2B5EF4-FFF2-40B4-BE49-F238E27FC236}">
                <a16:creationId xmlns:a16="http://schemas.microsoft.com/office/drawing/2014/main" id="{9EFAE50D-B78C-440B-829D-ADD0300614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48687" y="1617133"/>
            <a:ext cx="1778492" cy="481971"/>
          </a:xfrm>
        </p:spPr>
        <p:txBody>
          <a:bodyPr anchor="b">
            <a:noAutofit/>
          </a:bodyPr>
          <a:lstStyle>
            <a:lvl1pPr marL="0" indent="0">
              <a:buNone/>
              <a:defRPr sz="1333" b="1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name</a:t>
            </a:r>
            <a:r>
              <a:rPr lang="nb-NO"/>
              <a:t> </a:t>
            </a:r>
          </a:p>
        </p:txBody>
      </p:sp>
      <p:sp>
        <p:nvSpPr>
          <p:cNvPr id="51" name="Plassholder for tekst 5">
            <a:extLst>
              <a:ext uri="{FF2B5EF4-FFF2-40B4-BE49-F238E27FC236}">
                <a16:creationId xmlns:a16="http://schemas.microsoft.com/office/drawing/2014/main" id="{B12F6E99-96F6-4F12-995E-C27E1689735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49500" y="2211803"/>
            <a:ext cx="1778000" cy="1015147"/>
          </a:xfrm>
        </p:spPr>
        <p:txBody>
          <a:bodyPr>
            <a:noAutofit/>
          </a:bodyPr>
          <a:lstStyle>
            <a:lvl1pPr marL="0" indent="0">
              <a:buNone/>
              <a:defRPr sz="1333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title</a:t>
            </a:r>
            <a:r>
              <a:rPr lang="nb-NO"/>
              <a:t> and </a:t>
            </a:r>
            <a:r>
              <a:rPr lang="nb-NO" err="1"/>
              <a:t>information</a:t>
            </a:r>
            <a:endParaRPr lang="nb-NO"/>
          </a:p>
        </p:txBody>
      </p:sp>
      <p:sp>
        <p:nvSpPr>
          <p:cNvPr id="52" name="Plassholder for tekst 3">
            <a:extLst>
              <a:ext uri="{FF2B5EF4-FFF2-40B4-BE49-F238E27FC236}">
                <a16:creationId xmlns:a16="http://schemas.microsoft.com/office/drawing/2014/main" id="{9292159D-A239-427B-9C9D-3DA70F8998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25006" y="1617133"/>
            <a:ext cx="1778492" cy="481971"/>
          </a:xfrm>
        </p:spPr>
        <p:txBody>
          <a:bodyPr anchor="b">
            <a:noAutofit/>
          </a:bodyPr>
          <a:lstStyle>
            <a:lvl1pPr marL="0" indent="0">
              <a:buNone/>
              <a:defRPr sz="1333" b="1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name</a:t>
            </a:r>
            <a:r>
              <a:rPr lang="nb-NO"/>
              <a:t> </a:t>
            </a:r>
          </a:p>
        </p:txBody>
      </p:sp>
      <p:sp>
        <p:nvSpPr>
          <p:cNvPr id="53" name="Plassholder for tekst 5">
            <a:extLst>
              <a:ext uri="{FF2B5EF4-FFF2-40B4-BE49-F238E27FC236}">
                <a16:creationId xmlns:a16="http://schemas.microsoft.com/office/drawing/2014/main" id="{070CF4F3-3986-49FB-98F1-457933BBCE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25819" y="2211803"/>
            <a:ext cx="1778000" cy="1015147"/>
          </a:xfrm>
        </p:spPr>
        <p:txBody>
          <a:bodyPr>
            <a:noAutofit/>
          </a:bodyPr>
          <a:lstStyle>
            <a:lvl1pPr marL="0" indent="0">
              <a:buNone/>
              <a:defRPr sz="1333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title</a:t>
            </a:r>
            <a:r>
              <a:rPr lang="nb-NO"/>
              <a:t> and </a:t>
            </a:r>
            <a:r>
              <a:rPr lang="nb-NO" err="1"/>
              <a:t>information</a:t>
            </a:r>
            <a:endParaRPr lang="nb-NO"/>
          </a:p>
        </p:txBody>
      </p:sp>
      <p:sp>
        <p:nvSpPr>
          <p:cNvPr id="54" name="Plassholder for tekst 3">
            <a:extLst>
              <a:ext uri="{FF2B5EF4-FFF2-40B4-BE49-F238E27FC236}">
                <a16:creationId xmlns:a16="http://schemas.microsoft.com/office/drawing/2014/main" id="{9A939696-8DE8-4A64-8BE1-29257614CC9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501003" y="1617133"/>
            <a:ext cx="1778492" cy="481971"/>
          </a:xfrm>
        </p:spPr>
        <p:txBody>
          <a:bodyPr anchor="b">
            <a:noAutofit/>
          </a:bodyPr>
          <a:lstStyle>
            <a:lvl1pPr marL="0" indent="0">
              <a:buNone/>
              <a:defRPr sz="1333" b="1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name</a:t>
            </a:r>
            <a:r>
              <a:rPr lang="nb-NO"/>
              <a:t> </a:t>
            </a:r>
          </a:p>
        </p:txBody>
      </p:sp>
      <p:sp>
        <p:nvSpPr>
          <p:cNvPr id="55" name="Plassholder for tekst 5">
            <a:extLst>
              <a:ext uri="{FF2B5EF4-FFF2-40B4-BE49-F238E27FC236}">
                <a16:creationId xmlns:a16="http://schemas.microsoft.com/office/drawing/2014/main" id="{EA7C6B97-E847-4CC9-8D9A-B7F90BE570B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01816" y="2211803"/>
            <a:ext cx="1778000" cy="1015147"/>
          </a:xfrm>
        </p:spPr>
        <p:txBody>
          <a:bodyPr>
            <a:noAutofit/>
          </a:bodyPr>
          <a:lstStyle>
            <a:lvl1pPr marL="0" indent="0">
              <a:buNone/>
              <a:defRPr sz="1333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title</a:t>
            </a:r>
            <a:r>
              <a:rPr lang="nb-NO"/>
              <a:t> and </a:t>
            </a:r>
            <a:r>
              <a:rPr lang="nb-NO" err="1"/>
              <a:t>information</a:t>
            </a:r>
            <a:endParaRPr lang="nb-NO"/>
          </a:p>
        </p:txBody>
      </p:sp>
      <p:sp>
        <p:nvSpPr>
          <p:cNvPr id="56" name="Plassholder for bilde 14">
            <a:extLst>
              <a:ext uri="{FF2B5EF4-FFF2-40B4-BE49-F238E27FC236}">
                <a16:creationId xmlns:a16="http://schemas.microsoft.com/office/drawing/2014/main" id="{89E24870-5F9F-4684-860E-648C088D536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61680" y="3754901"/>
            <a:ext cx="1417905" cy="1416552"/>
          </a:xfrm>
          <a:custGeom>
            <a:avLst/>
            <a:gdLst>
              <a:gd name="connsiteX0" fmla="*/ 674696 w 1375442"/>
              <a:gd name="connsiteY0" fmla="*/ 0 h 1374129"/>
              <a:gd name="connsiteX1" fmla="*/ 700746 w 1375442"/>
              <a:gd name="connsiteY1" fmla="*/ 0 h 1374129"/>
              <a:gd name="connsiteX2" fmla="*/ 826321 w 1375442"/>
              <a:gd name="connsiteY2" fmla="*/ 12659 h 1374129"/>
              <a:gd name="connsiteX3" fmla="*/ 1375442 w 1375442"/>
              <a:gd name="connsiteY3" fmla="*/ 686408 h 1374129"/>
              <a:gd name="connsiteX4" fmla="*/ 687721 w 1375442"/>
              <a:gd name="connsiteY4" fmla="*/ 1374129 h 1374129"/>
              <a:gd name="connsiteX5" fmla="*/ 0 w 1375442"/>
              <a:gd name="connsiteY5" fmla="*/ 686408 h 1374129"/>
              <a:gd name="connsiteX6" fmla="*/ 549121 w 1375442"/>
              <a:gd name="connsiteY6" fmla="*/ 12659 h 1374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75442" h="1374129">
                <a:moveTo>
                  <a:pt x="674696" y="0"/>
                </a:moveTo>
                <a:lnTo>
                  <a:pt x="700746" y="0"/>
                </a:lnTo>
                <a:lnTo>
                  <a:pt x="826321" y="12659"/>
                </a:lnTo>
                <a:cubicBezTo>
                  <a:pt x="1139704" y="76787"/>
                  <a:pt x="1375442" y="354067"/>
                  <a:pt x="1375442" y="686408"/>
                </a:cubicBezTo>
                <a:cubicBezTo>
                  <a:pt x="1375442" y="1066226"/>
                  <a:pt x="1067539" y="1374129"/>
                  <a:pt x="687721" y="1374129"/>
                </a:cubicBezTo>
                <a:cubicBezTo>
                  <a:pt x="307903" y="1374129"/>
                  <a:pt x="0" y="1066226"/>
                  <a:pt x="0" y="686408"/>
                </a:cubicBezTo>
                <a:cubicBezTo>
                  <a:pt x="0" y="354067"/>
                  <a:pt x="235738" y="76787"/>
                  <a:pt x="549121" y="12659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 anchorCtr="0">
            <a:noAutofit/>
          </a:bodyPr>
          <a:lstStyle>
            <a:lvl1pPr algn="ctr">
              <a:defRPr sz="1333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57" name="Plassholder for bilde 16">
            <a:extLst>
              <a:ext uri="{FF2B5EF4-FFF2-40B4-BE49-F238E27FC236}">
                <a16:creationId xmlns:a16="http://schemas.microsoft.com/office/drawing/2014/main" id="{7EA246E5-5B1D-48D5-BED7-4D5BA8C70E8F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16980" y="3754901"/>
            <a:ext cx="1417905" cy="1416552"/>
          </a:xfrm>
          <a:custGeom>
            <a:avLst/>
            <a:gdLst>
              <a:gd name="connsiteX0" fmla="*/ 674696 w 1375442"/>
              <a:gd name="connsiteY0" fmla="*/ 0 h 1374129"/>
              <a:gd name="connsiteX1" fmla="*/ 700746 w 1375442"/>
              <a:gd name="connsiteY1" fmla="*/ 0 h 1374129"/>
              <a:gd name="connsiteX2" fmla="*/ 826321 w 1375442"/>
              <a:gd name="connsiteY2" fmla="*/ 12659 h 1374129"/>
              <a:gd name="connsiteX3" fmla="*/ 1375442 w 1375442"/>
              <a:gd name="connsiteY3" fmla="*/ 686408 h 1374129"/>
              <a:gd name="connsiteX4" fmla="*/ 687721 w 1375442"/>
              <a:gd name="connsiteY4" fmla="*/ 1374129 h 1374129"/>
              <a:gd name="connsiteX5" fmla="*/ 0 w 1375442"/>
              <a:gd name="connsiteY5" fmla="*/ 686408 h 1374129"/>
              <a:gd name="connsiteX6" fmla="*/ 549121 w 1375442"/>
              <a:gd name="connsiteY6" fmla="*/ 12659 h 1374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75442" h="1374129">
                <a:moveTo>
                  <a:pt x="674696" y="0"/>
                </a:moveTo>
                <a:lnTo>
                  <a:pt x="700746" y="0"/>
                </a:lnTo>
                <a:lnTo>
                  <a:pt x="826321" y="12659"/>
                </a:lnTo>
                <a:cubicBezTo>
                  <a:pt x="1139704" y="76787"/>
                  <a:pt x="1375442" y="354067"/>
                  <a:pt x="1375442" y="686408"/>
                </a:cubicBezTo>
                <a:cubicBezTo>
                  <a:pt x="1375442" y="1066226"/>
                  <a:pt x="1067539" y="1374129"/>
                  <a:pt x="687721" y="1374129"/>
                </a:cubicBezTo>
                <a:cubicBezTo>
                  <a:pt x="307903" y="1374129"/>
                  <a:pt x="0" y="1066226"/>
                  <a:pt x="0" y="686408"/>
                </a:cubicBezTo>
                <a:cubicBezTo>
                  <a:pt x="0" y="354067"/>
                  <a:pt x="235738" y="76787"/>
                  <a:pt x="549121" y="12659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 anchorCtr="0">
            <a:noAutofit/>
          </a:bodyPr>
          <a:lstStyle>
            <a:lvl1pPr algn="ctr">
              <a:defRPr sz="1333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58" name="Plassholder for bilde 18">
            <a:extLst>
              <a:ext uri="{FF2B5EF4-FFF2-40B4-BE49-F238E27FC236}">
                <a16:creationId xmlns:a16="http://schemas.microsoft.com/office/drawing/2014/main" id="{7F0D1F2D-5251-4151-947B-EE0C97101EE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872280" y="3754901"/>
            <a:ext cx="1417905" cy="1416552"/>
          </a:xfrm>
          <a:custGeom>
            <a:avLst/>
            <a:gdLst>
              <a:gd name="connsiteX0" fmla="*/ 674696 w 1375442"/>
              <a:gd name="connsiteY0" fmla="*/ 0 h 1374129"/>
              <a:gd name="connsiteX1" fmla="*/ 700746 w 1375442"/>
              <a:gd name="connsiteY1" fmla="*/ 0 h 1374129"/>
              <a:gd name="connsiteX2" fmla="*/ 826321 w 1375442"/>
              <a:gd name="connsiteY2" fmla="*/ 12659 h 1374129"/>
              <a:gd name="connsiteX3" fmla="*/ 1375442 w 1375442"/>
              <a:gd name="connsiteY3" fmla="*/ 686408 h 1374129"/>
              <a:gd name="connsiteX4" fmla="*/ 687721 w 1375442"/>
              <a:gd name="connsiteY4" fmla="*/ 1374129 h 1374129"/>
              <a:gd name="connsiteX5" fmla="*/ 0 w 1375442"/>
              <a:gd name="connsiteY5" fmla="*/ 686408 h 1374129"/>
              <a:gd name="connsiteX6" fmla="*/ 549121 w 1375442"/>
              <a:gd name="connsiteY6" fmla="*/ 12659 h 1374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75442" h="1374129">
                <a:moveTo>
                  <a:pt x="674696" y="0"/>
                </a:moveTo>
                <a:lnTo>
                  <a:pt x="700746" y="0"/>
                </a:lnTo>
                <a:lnTo>
                  <a:pt x="826321" y="12659"/>
                </a:lnTo>
                <a:cubicBezTo>
                  <a:pt x="1139704" y="76787"/>
                  <a:pt x="1375442" y="354067"/>
                  <a:pt x="1375442" y="686408"/>
                </a:cubicBezTo>
                <a:cubicBezTo>
                  <a:pt x="1375442" y="1066226"/>
                  <a:pt x="1067539" y="1374129"/>
                  <a:pt x="687721" y="1374129"/>
                </a:cubicBezTo>
                <a:cubicBezTo>
                  <a:pt x="307903" y="1374129"/>
                  <a:pt x="0" y="1066226"/>
                  <a:pt x="0" y="686408"/>
                </a:cubicBezTo>
                <a:cubicBezTo>
                  <a:pt x="0" y="354067"/>
                  <a:pt x="235738" y="76787"/>
                  <a:pt x="549121" y="12659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 anchorCtr="0">
            <a:noAutofit/>
          </a:bodyPr>
          <a:lstStyle>
            <a:lvl1pPr algn="ctr">
              <a:defRPr sz="1333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59" name="Plassholder for tekst 3">
            <a:extLst>
              <a:ext uri="{FF2B5EF4-FFF2-40B4-BE49-F238E27FC236}">
                <a16:creationId xmlns:a16="http://schemas.microsoft.com/office/drawing/2014/main" id="{8E57CF47-BD3D-427A-9D30-ADAC119151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48366" y="3692642"/>
            <a:ext cx="1778492" cy="481971"/>
          </a:xfrm>
        </p:spPr>
        <p:txBody>
          <a:bodyPr anchor="b">
            <a:noAutofit/>
          </a:bodyPr>
          <a:lstStyle>
            <a:lvl1pPr marL="0" indent="0">
              <a:buNone/>
              <a:defRPr sz="1333" b="1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name</a:t>
            </a:r>
            <a:r>
              <a:rPr lang="nb-NO"/>
              <a:t> </a:t>
            </a:r>
          </a:p>
        </p:txBody>
      </p:sp>
      <p:sp>
        <p:nvSpPr>
          <p:cNvPr id="60" name="Plassholder for tekst 5">
            <a:extLst>
              <a:ext uri="{FF2B5EF4-FFF2-40B4-BE49-F238E27FC236}">
                <a16:creationId xmlns:a16="http://schemas.microsoft.com/office/drawing/2014/main" id="{D4D5925C-D0AF-4F60-AC6A-7C6322551E1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349179" y="4287312"/>
            <a:ext cx="1778000" cy="1015147"/>
          </a:xfrm>
        </p:spPr>
        <p:txBody>
          <a:bodyPr>
            <a:noAutofit/>
          </a:bodyPr>
          <a:lstStyle>
            <a:lvl1pPr marL="0" indent="0">
              <a:buNone/>
              <a:defRPr sz="1333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title</a:t>
            </a:r>
            <a:r>
              <a:rPr lang="nb-NO"/>
              <a:t> and </a:t>
            </a:r>
            <a:r>
              <a:rPr lang="nb-NO" err="1"/>
              <a:t>information</a:t>
            </a:r>
            <a:endParaRPr lang="nb-NO"/>
          </a:p>
        </p:txBody>
      </p:sp>
      <p:sp>
        <p:nvSpPr>
          <p:cNvPr id="61" name="Plassholder for tekst 3">
            <a:extLst>
              <a:ext uri="{FF2B5EF4-FFF2-40B4-BE49-F238E27FC236}">
                <a16:creationId xmlns:a16="http://schemas.microsoft.com/office/drawing/2014/main" id="{8024A119-F365-4FFE-9B32-A6CDC29C3C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24685" y="3692642"/>
            <a:ext cx="1778492" cy="481971"/>
          </a:xfrm>
        </p:spPr>
        <p:txBody>
          <a:bodyPr anchor="b">
            <a:noAutofit/>
          </a:bodyPr>
          <a:lstStyle>
            <a:lvl1pPr marL="0" indent="0">
              <a:buNone/>
              <a:defRPr sz="1333" b="1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name</a:t>
            </a:r>
            <a:r>
              <a:rPr lang="nb-NO"/>
              <a:t> </a:t>
            </a:r>
          </a:p>
        </p:txBody>
      </p:sp>
      <p:sp>
        <p:nvSpPr>
          <p:cNvPr id="62" name="Plassholder for tekst 5">
            <a:extLst>
              <a:ext uri="{FF2B5EF4-FFF2-40B4-BE49-F238E27FC236}">
                <a16:creationId xmlns:a16="http://schemas.microsoft.com/office/drawing/2014/main" id="{5400F042-8A97-457D-B494-10D6D55F60F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25497" y="4287312"/>
            <a:ext cx="1778000" cy="1015147"/>
          </a:xfrm>
        </p:spPr>
        <p:txBody>
          <a:bodyPr>
            <a:noAutofit/>
          </a:bodyPr>
          <a:lstStyle>
            <a:lvl1pPr marL="0" indent="0">
              <a:buNone/>
              <a:defRPr sz="1333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title</a:t>
            </a:r>
            <a:r>
              <a:rPr lang="nb-NO"/>
              <a:t> and </a:t>
            </a:r>
            <a:r>
              <a:rPr lang="nb-NO" err="1"/>
              <a:t>information</a:t>
            </a:r>
            <a:endParaRPr lang="nb-NO"/>
          </a:p>
        </p:txBody>
      </p:sp>
      <p:sp>
        <p:nvSpPr>
          <p:cNvPr id="63" name="Plassholder for tekst 3">
            <a:extLst>
              <a:ext uri="{FF2B5EF4-FFF2-40B4-BE49-F238E27FC236}">
                <a16:creationId xmlns:a16="http://schemas.microsoft.com/office/drawing/2014/main" id="{4C2D684F-AA58-4266-BE8F-9D039F826CC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00682" y="3692642"/>
            <a:ext cx="1778492" cy="481971"/>
          </a:xfrm>
        </p:spPr>
        <p:txBody>
          <a:bodyPr anchor="b">
            <a:noAutofit/>
          </a:bodyPr>
          <a:lstStyle>
            <a:lvl1pPr marL="0" indent="0">
              <a:buNone/>
              <a:defRPr sz="1333" b="1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name</a:t>
            </a:r>
            <a:r>
              <a:rPr lang="nb-NO"/>
              <a:t> </a:t>
            </a:r>
          </a:p>
        </p:txBody>
      </p:sp>
      <p:sp>
        <p:nvSpPr>
          <p:cNvPr id="64" name="Plassholder for tekst 5">
            <a:extLst>
              <a:ext uri="{FF2B5EF4-FFF2-40B4-BE49-F238E27FC236}">
                <a16:creationId xmlns:a16="http://schemas.microsoft.com/office/drawing/2014/main" id="{EA439540-9F4A-4C90-A0E3-A24A710D32B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01495" y="4287312"/>
            <a:ext cx="1778000" cy="1015147"/>
          </a:xfrm>
        </p:spPr>
        <p:txBody>
          <a:bodyPr>
            <a:noAutofit/>
          </a:bodyPr>
          <a:lstStyle>
            <a:lvl1pPr marL="0" indent="0">
              <a:buNone/>
              <a:defRPr sz="1333"/>
            </a:lvl1pPr>
            <a:lvl2pPr marL="191995" indent="0">
              <a:buNone/>
              <a:defRPr sz="1333"/>
            </a:lvl2pPr>
            <a:lvl3pPr marL="370373" indent="0">
              <a:buNone/>
              <a:defRPr sz="1333"/>
            </a:lvl3pPr>
            <a:lvl4pPr marL="552436" indent="0">
              <a:buNone/>
              <a:defRPr sz="1333"/>
            </a:lvl4pPr>
            <a:lvl5pPr marL="719649" indent="0">
              <a:buNone/>
              <a:defRPr sz="1333"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title</a:t>
            </a:r>
            <a:r>
              <a:rPr lang="nb-NO"/>
              <a:t> and </a:t>
            </a:r>
            <a:r>
              <a:rPr lang="nb-NO" err="1"/>
              <a:t>informatio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81767246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quar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1" y="480000"/>
            <a:ext cx="4611188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F0900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2001" y="1617135"/>
            <a:ext cx="4611188" cy="43074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err="1"/>
              <a:t>Text</a:t>
            </a:r>
            <a:r>
              <a:rPr lang="nb-NO" noProof="0"/>
              <a:t> first </a:t>
            </a:r>
            <a:r>
              <a:rPr lang="nb-NO" noProof="0" err="1"/>
              <a:t>level</a:t>
            </a:r>
            <a:r>
              <a:rPr lang="nb-NO" noProof="0"/>
              <a:t>, </a:t>
            </a:r>
            <a:r>
              <a:rPr lang="nb-NO" noProof="0" err="1"/>
              <a:t>use</a:t>
            </a:r>
            <a:r>
              <a:rPr lang="nb-NO" noProof="0"/>
              <a:t> </a:t>
            </a:r>
            <a:r>
              <a:rPr lang="nb-NO" noProof="0" err="1"/>
              <a:t>indent</a:t>
            </a:r>
            <a:r>
              <a:rPr lang="nb-NO" noProof="0"/>
              <a:t> for sub </a:t>
            </a:r>
            <a:r>
              <a:rPr lang="nb-NO" noProof="0" err="1"/>
              <a:t>levels</a:t>
            </a:r>
            <a:endParaRPr lang="nb-NO" noProof="0"/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en-US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4DCB47A4-2EBA-204A-8E47-730228792A8E}"/>
              </a:ext>
            </a:extLst>
          </p:cNvPr>
          <p:cNvSpPr txBox="1"/>
          <p:nvPr/>
        </p:nvSpPr>
        <p:spPr>
          <a:xfrm>
            <a:off x="0" y="-383629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ext square picture right</a:t>
            </a: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1F1B407C-A22F-064F-9840-7CEDE8ED1185}"/>
              </a:ext>
            </a:extLst>
          </p:cNvPr>
          <p:cNvSpPr txBox="1"/>
          <p:nvPr/>
        </p:nvSpPr>
        <p:spPr>
          <a:xfrm>
            <a:off x="12328733" y="0"/>
            <a:ext cx="1862600" cy="2227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D</a:t>
            </a:r>
            <a:r>
              <a:rPr lang="nb-NO" sz="1067" baseline="0" noProof="1"/>
              <a:t>et finnes egne layoutmaler for heldekkende, utfallende bild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NB!</a:t>
            </a:r>
            <a:r>
              <a:rPr lang="nb-NO" sz="1067" b="1" baseline="0" noProof="1"/>
              <a:t> </a:t>
            </a:r>
            <a:r>
              <a:rPr lang="nb-NO" sz="1067" noProof="1"/>
              <a:t>Slå</a:t>
            </a:r>
            <a:r>
              <a:rPr lang="nb-NO" sz="1067" baseline="0" noProof="1"/>
              <a:t> gjerne av bullets dersom det ikke er hensiktsmessig med bullets foran hver tekstlinje.</a:t>
            </a: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</p:txBody>
      </p:sp>
      <p:sp>
        <p:nvSpPr>
          <p:cNvPr id="8" name="Plassholder for bilde 8">
            <a:extLst>
              <a:ext uri="{FF2B5EF4-FFF2-40B4-BE49-F238E27FC236}">
                <a16:creationId xmlns:a16="http://schemas.microsoft.com/office/drawing/2014/main" id="{25D89038-64A5-4F59-8C56-140EE65491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1" y="309033"/>
            <a:ext cx="5815583" cy="5615519"/>
          </a:xfrm>
          <a:prstGeom prst="rect">
            <a:avLst/>
          </a:prstGeom>
        </p:spPr>
        <p:txBody>
          <a:bodyPr lIns="180000" tIns="180000" rIns="180000" bIns="180000">
            <a:normAutofit/>
          </a:bodyPr>
          <a:lstStyle>
            <a:lvl1pPr marL="0" indent="0" algn="l">
              <a:buFont typeface="+mj-lt"/>
              <a:buNone/>
              <a:defRPr sz="1333" baseline="0"/>
            </a:lvl1pPr>
          </a:lstStyle>
          <a:p>
            <a:r>
              <a:rPr lang="nb-NO" err="1"/>
              <a:t>Insert</a:t>
            </a:r>
            <a:r>
              <a:rPr lang="nb-NO"/>
              <a:t> or drag and </a:t>
            </a:r>
            <a:r>
              <a:rPr lang="nb-NO" err="1"/>
              <a:t>drop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0009617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rounde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9D41DC85-436E-4991-BBBA-28B8A8BAAF3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61648" y="-28486"/>
            <a:ext cx="6030353" cy="6225964"/>
          </a:xfrm>
          <a:custGeom>
            <a:avLst/>
            <a:gdLst>
              <a:gd name="connsiteX0" fmla="*/ 2497138 w 5344567"/>
              <a:gd name="connsiteY0" fmla="*/ 0 h 4993958"/>
              <a:gd name="connsiteX1" fmla="*/ 2499792 w 5344567"/>
              <a:gd name="connsiteY1" fmla="*/ 0 h 4993958"/>
              <a:gd name="connsiteX2" fmla="*/ 5344567 w 5344567"/>
              <a:gd name="connsiteY2" fmla="*/ 0 h 4993958"/>
              <a:gd name="connsiteX3" fmla="*/ 5344567 w 5344567"/>
              <a:gd name="connsiteY3" fmla="*/ 4993958 h 4993958"/>
              <a:gd name="connsiteX4" fmla="*/ 2490823 w 5344567"/>
              <a:gd name="connsiteY4" fmla="*/ 4993958 h 4993958"/>
              <a:gd name="connsiteX5" fmla="*/ 2241864 w 5344567"/>
              <a:gd name="connsiteY5" fmla="*/ 4981382 h 4993958"/>
              <a:gd name="connsiteX6" fmla="*/ 0 w 5344567"/>
              <a:gd name="connsiteY6" fmla="*/ 2497138 h 4993958"/>
              <a:gd name="connsiteX7" fmla="*/ 2497138 w 5344567"/>
              <a:gd name="connsiteY7" fmla="*/ 0 h 4993958"/>
              <a:gd name="connsiteX0" fmla="*/ 2497138 w 5344567"/>
              <a:gd name="connsiteY0" fmla="*/ 0 h 4993958"/>
              <a:gd name="connsiteX1" fmla="*/ 2499792 w 5344567"/>
              <a:gd name="connsiteY1" fmla="*/ 0 h 4993958"/>
              <a:gd name="connsiteX2" fmla="*/ 4825407 w 5344567"/>
              <a:gd name="connsiteY2" fmla="*/ 0 h 4993958"/>
              <a:gd name="connsiteX3" fmla="*/ 5344567 w 5344567"/>
              <a:gd name="connsiteY3" fmla="*/ 4993958 h 4993958"/>
              <a:gd name="connsiteX4" fmla="*/ 2490823 w 5344567"/>
              <a:gd name="connsiteY4" fmla="*/ 4993958 h 4993958"/>
              <a:gd name="connsiteX5" fmla="*/ 2241864 w 5344567"/>
              <a:gd name="connsiteY5" fmla="*/ 4981382 h 4993958"/>
              <a:gd name="connsiteX6" fmla="*/ 0 w 5344567"/>
              <a:gd name="connsiteY6" fmla="*/ 2497138 h 4993958"/>
              <a:gd name="connsiteX7" fmla="*/ 2497138 w 5344567"/>
              <a:gd name="connsiteY7" fmla="*/ 0 h 4993958"/>
              <a:gd name="connsiteX0" fmla="*/ 2497138 w 4844997"/>
              <a:gd name="connsiteY0" fmla="*/ 0 h 4993958"/>
              <a:gd name="connsiteX1" fmla="*/ 2499792 w 4844997"/>
              <a:gd name="connsiteY1" fmla="*/ 0 h 4993958"/>
              <a:gd name="connsiteX2" fmla="*/ 4825407 w 4844997"/>
              <a:gd name="connsiteY2" fmla="*/ 0 h 4993958"/>
              <a:gd name="connsiteX3" fmla="*/ 4844997 w 4844997"/>
              <a:gd name="connsiteY3" fmla="*/ 4993958 h 4993958"/>
              <a:gd name="connsiteX4" fmla="*/ 2490823 w 4844997"/>
              <a:gd name="connsiteY4" fmla="*/ 4993958 h 4993958"/>
              <a:gd name="connsiteX5" fmla="*/ 2241864 w 4844997"/>
              <a:gd name="connsiteY5" fmla="*/ 4981382 h 4993958"/>
              <a:gd name="connsiteX6" fmla="*/ 0 w 4844997"/>
              <a:gd name="connsiteY6" fmla="*/ 2497138 h 4993958"/>
              <a:gd name="connsiteX7" fmla="*/ 2497138 w 4844997"/>
              <a:gd name="connsiteY7" fmla="*/ 0 h 4993958"/>
              <a:gd name="connsiteX0" fmla="*/ 2497138 w 4844997"/>
              <a:gd name="connsiteY0" fmla="*/ 0 h 4993958"/>
              <a:gd name="connsiteX1" fmla="*/ 2499792 w 4844997"/>
              <a:gd name="connsiteY1" fmla="*/ 0 h 4993958"/>
              <a:gd name="connsiteX2" fmla="*/ 4844454 w 4844997"/>
              <a:gd name="connsiteY2" fmla="*/ 2721 h 4993958"/>
              <a:gd name="connsiteX3" fmla="*/ 4844997 w 4844997"/>
              <a:gd name="connsiteY3" fmla="*/ 4993958 h 4993958"/>
              <a:gd name="connsiteX4" fmla="*/ 2490823 w 4844997"/>
              <a:gd name="connsiteY4" fmla="*/ 4993958 h 4993958"/>
              <a:gd name="connsiteX5" fmla="*/ 2241864 w 4844997"/>
              <a:gd name="connsiteY5" fmla="*/ 4981382 h 4993958"/>
              <a:gd name="connsiteX6" fmla="*/ 0 w 4844997"/>
              <a:gd name="connsiteY6" fmla="*/ 2497138 h 4993958"/>
              <a:gd name="connsiteX7" fmla="*/ 2497138 w 4844997"/>
              <a:gd name="connsiteY7" fmla="*/ 0 h 4993958"/>
              <a:gd name="connsiteX0" fmla="*/ 2497138 w 4844997"/>
              <a:gd name="connsiteY0" fmla="*/ 10884 h 5004842"/>
              <a:gd name="connsiteX1" fmla="*/ 2499792 w 4844997"/>
              <a:gd name="connsiteY1" fmla="*/ 10884 h 5004842"/>
              <a:gd name="connsiteX2" fmla="*/ 4844454 w 4844997"/>
              <a:gd name="connsiteY2" fmla="*/ 0 h 5004842"/>
              <a:gd name="connsiteX3" fmla="*/ 4844997 w 4844997"/>
              <a:gd name="connsiteY3" fmla="*/ 5004842 h 5004842"/>
              <a:gd name="connsiteX4" fmla="*/ 2490823 w 4844997"/>
              <a:gd name="connsiteY4" fmla="*/ 5004842 h 5004842"/>
              <a:gd name="connsiteX5" fmla="*/ 2241864 w 4844997"/>
              <a:gd name="connsiteY5" fmla="*/ 4992266 h 5004842"/>
              <a:gd name="connsiteX6" fmla="*/ 0 w 4844997"/>
              <a:gd name="connsiteY6" fmla="*/ 2508022 h 5004842"/>
              <a:gd name="connsiteX7" fmla="*/ 2497138 w 4844997"/>
              <a:gd name="connsiteY7" fmla="*/ 10884 h 5004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44997" h="5004842">
                <a:moveTo>
                  <a:pt x="2497138" y="10884"/>
                </a:moveTo>
                <a:lnTo>
                  <a:pt x="2499792" y="10884"/>
                </a:lnTo>
                <a:lnTo>
                  <a:pt x="4844454" y="0"/>
                </a:lnTo>
                <a:lnTo>
                  <a:pt x="4844997" y="5004842"/>
                </a:lnTo>
                <a:lnTo>
                  <a:pt x="2490823" y="5004842"/>
                </a:lnTo>
                <a:lnTo>
                  <a:pt x="2241864" y="4992266"/>
                </a:lnTo>
                <a:cubicBezTo>
                  <a:pt x="982857" y="4864359"/>
                  <a:pt x="0" y="3800709"/>
                  <a:pt x="0" y="2508022"/>
                </a:cubicBezTo>
                <a:cubicBezTo>
                  <a:pt x="0" y="1129157"/>
                  <a:pt x="1118272" y="10884"/>
                  <a:pt x="2497138" y="10884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3733"/>
            </a:lvl1pPr>
          </a:lstStyle>
          <a:p>
            <a:pPr marL="167996" marR="0" lvl="0" indent="-167996" algn="l" defTabSz="609585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pPr>
            <a:r>
              <a:rPr lang="nb-NO" sz="2133" err="1"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</a:t>
            </a:r>
            <a:r>
              <a:rPr lang="nb-NO" sz="2133"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mage to </a:t>
            </a:r>
            <a:r>
              <a:rPr lang="nb-NO" sz="2133" err="1"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ape</a:t>
            </a:r>
            <a:endParaRPr lang="sv-SE" sz="2133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1" y="480000"/>
            <a:ext cx="4611188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2001" y="1617602"/>
            <a:ext cx="4611188" cy="43069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err="1"/>
              <a:t>Text</a:t>
            </a:r>
            <a:r>
              <a:rPr lang="nb-NO" noProof="0"/>
              <a:t> first </a:t>
            </a:r>
            <a:r>
              <a:rPr lang="nb-NO" noProof="0" err="1"/>
              <a:t>level</a:t>
            </a:r>
            <a:r>
              <a:rPr lang="nb-NO" noProof="0"/>
              <a:t>, </a:t>
            </a:r>
            <a:r>
              <a:rPr lang="nb-NO" noProof="0" err="1"/>
              <a:t>use</a:t>
            </a:r>
            <a:r>
              <a:rPr lang="nb-NO" noProof="0"/>
              <a:t> </a:t>
            </a:r>
            <a:r>
              <a:rPr lang="nb-NO" noProof="0" err="1"/>
              <a:t>indent</a:t>
            </a:r>
            <a:r>
              <a:rPr lang="nb-NO" noProof="0"/>
              <a:t> for sub </a:t>
            </a:r>
            <a:r>
              <a:rPr lang="nb-NO" noProof="0" err="1"/>
              <a:t>levels</a:t>
            </a:r>
            <a:endParaRPr lang="nb-NO" noProof="0"/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en-US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4DCB47A4-2EBA-204A-8E47-730228792A8E}"/>
              </a:ext>
            </a:extLst>
          </p:cNvPr>
          <p:cNvSpPr txBox="1"/>
          <p:nvPr/>
        </p:nvSpPr>
        <p:spPr>
          <a:xfrm>
            <a:off x="0" y="-383629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ext rounded picture right</a:t>
            </a: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1F1B407C-A22F-064F-9840-7CEDE8ED1185}"/>
              </a:ext>
            </a:extLst>
          </p:cNvPr>
          <p:cNvSpPr txBox="1"/>
          <p:nvPr/>
        </p:nvSpPr>
        <p:spPr>
          <a:xfrm>
            <a:off x="12328733" y="0"/>
            <a:ext cx="1862600" cy="2227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D</a:t>
            </a:r>
            <a:r>
              <a:rPr lang="nb-NO" sz="1067" baseline="0" noProof="1"/>
              <a:t>et finnes egne layoutmaler for heldekkende, utfallende bild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NB!</a:t>
            </a:r>
            <a:r>
              <a:rPr lang="nb-NO" sz="1067" b="1" baseline="0" noProof="1"/>
              <a:t> </a:t>
            </a:r>
            <a:r>
              <a:rPr lang="nb-NO" sz="1067" noProof="1"/>
              <a:t>Slå</a:t>
            </a:r>
            <a:r>
              <a:rPr lang="nb-NO" sz="1067" baseline="0" noProof="1"/>
              <a:t> gjerne av bullets dersom det ikke er hensiktsmessig med bullets foran hver tekstlinje.</a:t>
            </a: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</p:txBody>
      </p:sp>
    </p:spTree>
    <p:extLst>
      <p:ext uri="{BB962C8B-B14F-4D97-AF65-F5344CB8AC3E}">
        <p14:creationId xmlns:p14="http://schemas.microsoft.com/office/powerpoint/2010/main" val="2481177706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quar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9741" y="480000"/>
            <a:ext cx="4611188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49741" y="1617603"/>
            <a:ext cx="4611188" cy="43069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err="1"/>
              <a:t>Text</a:t>
            </a:r>
            <a:r>
              <a:rPr lang="nb-NO" noProof="0"/>
              <a:t> first </a:t>
            </a:r>
            <a:r>
              <a:rPr lang="nb-NO" noProof="0" err="1"/>
              <a:t>level</a:t>
            </a:r>
            <a:r>
              <a:rPr lang="nb-NO" noProof="0"/>
              <a:t>, </a:t>
            </a:r>
            <a:r>
              <a:rPr lang="nb-NO" noProof="0" err="1"/>
              <a:t>use</a:t>
            </a:r>
            <a:r>
              <a:rPr lang="nb-NO" noProof="0"/>
              <a:t> </a:t>
            </a:r>
            <a:r>
              <a:rPr lang="nb-NO" noProof="0" err="1"/>
              <a:t>indent</a:t>
            </a:r>
            <a:r>
              <a:rPr lang="nb-NO" noProof="0"/>
              <a:t> for sub </a:t>
            </a:r>
            <a:r>
              <a:rPr lang="nb-NO" noProof="0" err="1"/>
              <a:t>levels</a:t>
            </a:r>
            <a:endParaRPr lang="nb-NO" noProof="0"/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en-US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ED7A2C48-98C0-5D48-B6E5-10835E2B512C}"/>
              </a:ext>
            </a:extLst>
          </p:cNvPr>
          <p:cNvSpPr txBox="1"/>
          <p:nvPr/>
        </p:nvSpPr>
        <p:spPr>
          <a:xfrm>
            <a:off x="0" y="-383629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ext square picture left</a:t>
            </a: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35361E2F-0E6E-8145-AC11-6727A1D1E1A7}"/>
              </a:ext>
            </a:extLst>
          </p:cNvPr>
          <p:cNvSpPr txBox="1"/>
          <p:nvPr/>
        </p:nvSpPr>
        <p:spPr>
          <a:xfrm>
            <a:off x="12328733" y="0"/>
            <a:ext cx="1862600" cy="23912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D</a:t>
            </a:r>
            <a:r>
              <a:rPr lang="nb-NO" sz="1067" baseline="0" noProof="1"/>
              <a:t>et finnes egne layoutmaler for heldekkende, utfallende bild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NB!</a:t>
            </a:r>
            <a:r>
              <a:rPr lang="nb-NO" sz="1067" b="1" baseline="0" noProof="1"/>
              <a:t> </a:t>
            </a:r>
            <a:r>
              <a:rPr lang="nb-NO" sz="1067" noProof="1"/>
              <a:t>Slå</a:t>
            </a:r>
            <a:r>
              <a:rPr lang="nb-NO" sz="1067" baseline="0" noProof="1"/>
              <a:t> gjerne av bullets dersom det ikke er hensiktsmessig med bullets foran hver tekstlinje.</a:t>
            </a: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</p:txBody>
      </p:sp>
      <p:sp>
        <p:nvSpPr>
          <p:cNvPr id="7" name="Plassholder for bilde 8">
            <a:extLst>
              <a:ext uri="{FF2B5EF4-FFF2-40B4-BE49-F238E27FC236}">
                <a16:creationId xmlns:a16="http://schemas.microsoft.com/office/drawing/2014/main" id="{3D3E8FDB-984F-48EF-A568-E7578ACE845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867" y="309033"/>
            <a:ext cx="5808133" cy="5611753"/>
          </a:xfrm>
          <a:prstGeom prst="rect">
            <a:avLst/>
          </a:prstGeom>
        </p:spPr>
        <p:txBody>
          <a:bodyPr lIns="180000" tIns="180000" rIns="180000" bIns="180000">
            <a:normAutofit/>
          </a:bodyPr>
          <a:lstStyle>
            <a:lvl1pPr marL="0" indent="0" algn="l">
              <a:buFont typeface="+mj-lt"/>
              <a:buNone/>
              <a:defRPr sz="1333" baseline="0"/>
            </a:lvl1pPr>
          </a:lstStyle>
          <a:p>
            <a:r>
              <a:rPr lang="nb-NO" err="1"/>
              <a:t>Insert</a:t>
            </a:r>
            <a:r>
              <a:rPr lang="nb-NO"/>
              <a:t> or drag and </a:t>
            </a:r>
            <a:r>
              <a:rPr lang="nb-NO" err="1"/>
              <a:t>drop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9200033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rounde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8801" y="480000"/>
            <a:ext cx="4611188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48801" y="1611625"/>
            <a:ext cx="4611188" cy="4594816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dirty="0" err="1"/>
              <a:t>Text</a:t>
            </a:r>
            <a:r>
              <a:rPr lang="nb-NO" noProof="0" dirty="0"/>
              <a:t> first </a:t>
            </a:r>
            <a:r>
              <a:rPr lang="nb-NO" noProof="0" dirty="0" err="1"/>
              <a:t>level</a:t>
            </a:r>
            <a:r>
              <a:rPr lang="nb-NO" noProof="0" dirty="0"/>
              <a:t>, </a:t>
            </a:r>
            <a:r>
              <a:rPr lang="nb-NO" noProof="0" dirty="0" err="1"/>
              <a:t>use</a:t>
            </a:r>
            <a:r>
              <a:rPr lang="nb-NO" noProof="0" dirty="0"/>
              <a:t> </a:t>
            </a:r>
            <a:r>
              <a:rPr lang="nb-NO" noProof="0" dirty="0" err="1"/>
              <a:t>indent</a:t>
            </a:r>
            <a:r>
              <a:rPr lang="nb-NO" noProof="0" dirty="0"/>
              <a:t> for sub </a:t>
            </a:r>
            <a:r>
              <a:rPr lang="nb-NO" noProof="0" dirty="0" err="1"/>
              <a:t>levels</a:t>
            </a:r>
            <a:endParaRPr lang="nb-NO" noProof="0" dirty="0"/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en-US" dirty="0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ED7A2C48-98C0-5D48-B6E5-10835E2B512C}"/>
              </a:ext>
            </a:extLst>
          </p:cNvPr>
          <p:cNvSpPr txBox="1"/>
          <p:nvPr/>
        </p:nvSpPr>
        <p:spPr>
          <a:xfrm>
            <a:off x="0" y="-383629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ext rounded picture left</a:t>
            </a: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35361E2F-0E6E-8145-AC11-6727A1D1E1A7}"/>
              </a:ext>
            </a:extLst>
          </p:cNvPr>
          <p:cNvSpPr txBox="1"/>
          <p:nvPr/>
        </p:nvSpPr>
        <p:spPr>
          <a:xfrm>
            <a:off x="12328733" y="0"/>
            <a:ext cx="1862600" cy="23912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D</a:t>
            </a:r>
            <a:r>
              <a:rPr lang="nb-NO" sz="1067" baseline="0" noProof="1"/>
              <a:t>et finnes egne layoutmaler for heldekkende, utfallende bild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NB!</a:t>
            </a:r>
            <a:r>
              <a:rPr lang="nb-NO" sz="1067" b="1" baseline="0" noProof="1"/>
              <a:t> </a:t>
            </a:r>
            <a:r>
              <a:rPr lang="nb-NO" sz="1067" noProof="1"/>
              <a:t>Slå</a:t>
            </a:r>
            <a:r>
              <a:rPr lang="nb-NO" sz="1067" baseline="0" noProof="1"/>
              <a:t> gjerne av bullets dersom det ikke er hensiktsmessig med bullets foran hver tekstlinje.</a:t>
            </a: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</p:txBody>
      </p:sp>
      <p:sp>
        <p:nvSpPr>
          <p:cNvPr id="19" name="Plassholder for bilde 28">
            <a:extLst>
              <a:ext uri="{FF2B5EF4-FFF2-40B4-BE49-F238E27FC236}">
                <a16:creationId xmlns:a16="http://schemas.microsoft.com/office/drawing/2014/main" id="{CA8717B0-1C15-423C-9FCB-D8FCB168992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8090" y="-16658"/>
            <a:ext cx="6142260" cy="6215759"/>
          </a:xfrm>
          <a:custGeom>
            <a:avLst/>
            <a:gdLst>
              <a:gd name="connsiteX0" fmla="*/ 0 w 6394450"/>
              <a:gd name="connsiteY0" fmla="*/ 0 h 5975350"/>
              <a:gd name="connsiteX1" fmla="*/ 3403600 w 6394450"/>
              <a:gd name="connsiteY1" fmla="*/ 0 h 5975350"/>
              <a:gd name="connsiteX2" fmla="*/ 3406775 w 6394450"/>
              <a:gd name="connsiteY2" fmla="*/ 0 h 5975350"/>
              <a:gd name="connsiteX3" fmla="*/ 6394450 w 6394450"/>
              <a:gd name="connsiteY3" fmla="*/ 2987675 h 5975350"/>
              <a:gd name="connsiteX4" fmla="*/ 3406775 w 6394450"/>
              <a:gd name="connsiteY4" fmla="*/ 5975350 h 5975350"/>
              <a:gd name="connsiteX5" fmla="*/ 3403600 w 6394450"/>
              <a:gd name="connsiteY5" fmla="*/ 5975350 h 5975350"/>
              <a:gd name="connsiteX6" fmla="*/ 0 w 6394450"/>
              <a:gd name="connsiteY6" fmla="*/ 5975350 h 5975350"/>
              <a:gd name="connsiteX0" fmla="*/ 492259 w 6394450"/>
              <a:gd name="connsiteY0" fmla="*/ 11720 h 5975350"/>
              <a:gd name="connsiteX1" fmla="*/ 3403600 w 6394450"/>
              <a:gd name="connsiteY1" fmla="*/ 0 h 5975350"/>
              <a:gd name="connsiteX2" fmla="*/ 3406775 w 6394450"/>
              <a:gd name="connsiteY2" fmla="*/ 0 h 5975350"/>
              <a:gd name="connsiteX3" fmla="*/ 6394450 w 6394450"/>
              <a:gd name="connsiteY3" fmla="*/ 2987675 h 5975350"/>
              <a:gd name="connsiteX4" fmla="*/ 3406775 w 6394450"/>
              <a:gd name="connsiteY4" fmla="*/ 5975350 h 5975350"/>
              <a:gd name="connsiteX5" fmla="*/ 3403600 w 6394450"/>
              <a:gd name="connsiteY5" fmla="*/ 5975350 h 5975350"/>
              <a:gd name="connsiteX6" fmla="*/ 0 w 6394450"/>
              <a:gd name="connsiteY6" fmla="*/ 5975350 h 5975350"/>
              <a:gd name="connsiteX7" fmla="*/ 492259 w 6394450"/>
              <a:gd name="connsiteY7" fmla="*/ 11720 h 5975350"/>
              <a:gd name="connsiteX0" fmla="*/ 0 w 5902191"/>
              <a:gd name="connsiteY0" fmla="*/ 11720 h 5975350"/>
              <a:gd name="connsiteX1" fmla="*/ 2911341 w 5902191"/>
              <a:gd name="connsiteY1" fmla="*/ 0 h 5975350"/>
              <a:gd name="connsiteX2" fmla="*/ 2914516 w 5902191"/>
              <a:gd name="connsiteY2" fmla="*/ 0 h 5975350"/>
              <a:gd name="connsiteX3" fmla="*/ 5902191 w 5902191"/>
              <a:gd name="connsiteY3" fmla="*/ 2987675 h 5975350"/>
              <a:gd name="connsiteX4" fmla="*/ 2914516 w 5902191"/>
              <a:gd name="connsiteY4" fmla="*/ 5975350 h 5975350"/>
              <a:gd name="connsiteX5" fmla="*/ 2911341 w 5902191"/>
              <a:gd name="connsiteY5" fmla="*/ 5975350 h 5975350"/>
              <a:gd name="connsiteX6" fmla="*/ 0 w 5902191"/>
              <a:gd name="connsiteY6" fmla="*/ 5963630 h 5975350"/>
              <a:gd name="connsiteX7" fmla="*/ 0 w 5902191"/>
              <a:gd name="connsiteY7" fmla="*/ 11720 h 5975350"/>
              <a:gd name="connsiteX0" fmla="*/ 3052 w 5902191"/>
              <a:gd name="connsiteY0" fmla="*/ 5617 h 5975350"/>
              <a:gd name="connsiteX1" fmla="*/ 2911341 w 5902191"/>
              <a:gd name="connsiteY1" fmla="*/ 0 h 5975350"/>
              <a:gd name="connsiteX2" fmla="*/ 2914516 w 5902191"/>
              <a:gd name="connsiteY2" fmla="*/ 0 h 5975350"/>
              <a:gd name="connsiteX3" fmla="*/ 5902191 w 5902191"/>
              <a:gd name="connsiteY3" fmla="*/ 2987675 h 5975350"/>
              <a:gd name="connsiteX4" fmla="*/ 2914516 w 5902191"/>
              <a:gd name="connsiteY4" fmla="*/ 5975350 h 5975350"/>
              <a:gd name="connsiteX5" fmla="*/ 2911341 w 5902191"/>
              <a:gd name="connsiteY5" fmla="*/ 5975350 h 5975350"/>
              <a:gd name="connsiteX6" fmla="*/ 0 w 5902191"/>
              <a:gd name="connsiteY6" fmla="*/ 5963630 h 5975350"/>
              <a:gd name="connsiteX7" fmla="*/ 3052 w 5902191"/>
              <a:gd name="connsiteY7" fmla="*/ 5617 h 5975350"/>
              <a:gd name="connsiteX0" fmla="*/ 6104 w 5905243"/>
              <a:gd name="connsiteY0" fmla="*/ 5617 h 5981945"/>
              <a:gd name="connsiteX1" fmla="*/ 2914393 w 5905243"/>
              <a:gd name="connsiteY1" fmla="*/ 0 h 5981945"/>
              <a:gd name="connsiteX2" fmla="*/ 2917568 w 5905243"/>
              <a:gd name="connsiteY2" fmla="*/ 0 h 5981945"/>
              <a:gd name="connsiteX3" fmla="*/ 5905243 w 5905243"/>
              <a:gd name="connsiteY3" fmla="*/ 2987675 h 5981945"/>
              <a:gd name="connsiteX4" fmla="*/ 2917568 w 5905243"/>
              <a:gd name="connsiteY4" fmla="*/ 5975350 h 5981945"/>
              <a:gd name="connsiteX5" fmla="*/ 2914393 w 5905243"/>
              <a:gd name="connsiteY5" fmla="*/ 5975350 h 5981945"/>
              <a:gd name="connsiteX6" fmla="*/ 0 w 5905243"/>
              <a:gd name="connsiteY6" fmla="*/ 5981945 h 5981945"/>
              <a:gd name="connsiteX7" fmla="*/ 6104 w 5905243"/>
              <a:gd name="connsiteY7" fmla="*/ 5617 h 5981945"/>
              <a:gd name="connsiteX0" fmla="*/ 6104 w 5905243"/>
              <a:gd name="connsiteY0" fmla="*/ 0 h 5982433"/>
              <a:gd name="connsiteX1" fmla="*/ 2914393 w 5905243"/>
              <a:gd name="connsiteY1" fmla="*/ 488 h 5982433"/>
              <a:gd name="connsiteX2" fmla="*/ 2917568 w 5905243"/>
              <a:gd name="connsiteY2" fmla="*/ 488 h 5982433"/>
              <a:gd name="connsiteX3" fmla="*/ 5905243 w 5905243"/>
              <a:gd name="connsiteY3" fmla="*/ 2988163 h 5982433"/>
              <a:gd name="connsiteX4" fmla="*/ 2917568 w 5905243"/>
              <a:gd name="connsiteY4" fmla="*/ 5975838 h 5982433"/>
              <a:gd name="connsiteX5" fmla="*/ 2914393 w 5905243"/>
              <a:gd name="connsiteY5" fmla="*/ 5975838 h 5982433"/>
              <a:gd name="connsiteX6" fmla="*/ 0 w 5905243"/>
              <a:gd name="connsiteY6" fmla="*/ 5982433 h 5982433"/>
              <a:gd name="connsiteX7" fmla="*/ 6104 w 5905243"/>
              <a:gd name="connsiteY7" fmla="*/ 0 h 5982433"/>
              <a:gd name="connsiteX0" fmla="*/ 12209 w 5911348"/>
              <a:gd name="connsiteY0" fmla="*/ 0 h 5975838"/>
              <a:gd name="connsiteX1" fmla="*/ 2920498 w 5911348"/>
              <a:gd name="connsiteY1" fmla="*/ 488 h 5975838"/>
              <a:gd name="connsiteX2" fmla="*/ 2923673 w 5911348"/>
              <a:gd name="connsiteY2" fmla="*/ 488 h 5975838"/>
              <a:gd name="connsiteX3" fmla="*/ 5911348 w 5911348"/>
              <a:gd name="connsiteY3" fmla="*/ 2988163 h 5975838"/>
              <a:gd name="connsiteX4" fmla="*/ 2923673 w 5911348"/>
              <a:gd name="connsiteY4" fmla="*/ 5975838 h 5975838"/>
              <a:gd name="connsiteX5" fmla="*/ 2920498 w 5911348"/>
              <a:gd name="connsiteY5" fmla="*/ 5975838 h 5975838"/>
              <a:gd name="connsiteX6" fmla="*/ 0 w 5911348"/>
              <a:gd name="connsiteY6" fmla="*/ 5970236 h 5975838"/>
              <a:gd name="connsiteX7" fmla="*/ 12209 w 5911348"/>
              <a:gd name="connsiteY7" fmla="*/ 0 h 5975838"/>
              <a:gd name="connsiteX0" fmla="*/ 203 w 5912703"/>
              <a:gd name="connsiteY0" fmla="*/ 0 h 5975838"/>
              <a:gd name="connsiteX1" fmla="*/ 2921853 w 5912703"/>
              <a:gd name="connsiteY1" fmla="*/ 488 h 5975838"/>
              <a:gd name="connsiteX2" fmla="*/ 2925028 w 5912703"/>
              <a:gd name="connsiteY2" fmla="*/ 488 h 5975838"/>
              <a:gd name="connsiteX3" fmla="*/ 5912703 w 5912703"/>
              <a:gd name="connsiteY3" fmla="*/ 2988163 h 5975838"/>
              <a:gd name="connsiteX4" fmla="*/ 2925028 w 5912703"/>
              <a:gd name="connsiteY4" fmla="*/ 5975838 h 5975838"/>
              <a:gd name="connsiteX5" fmla="*/ 2921853 w 5912703"/>
              <a:gd name="connsiteY5" fmla="*/ 5975838 h 5975838"/>
              <a:gd name="connsiteX6" fmla="*/ 1355 w 5912703"/>
              <a:gd name="connsiteY6" fmla="*/ 5970236 h 5975838"/>
              <a:gd name="connsiteX7" fmla="*/ 203 w 5912703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64132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64132 h 5975838"/>
              <a:gd name="connsiteX7" fmla="*/ 11096 w 5923596"/>
              <a:gd name="connsiteY7" fmla="*/ 0 h 5975838"/>
              <a:gd name="connsiteX0" fmla="*/ 11096 w 5923596"/>
              <a:gd name="connsiteY0" fmla="*/ 0 h 5977156"/>
              <a:gd name="connsiteX1" fmla="*/ 2932746 w 5923596"/>
              <a:gd name="connsiteY1" fmla="*/ 488 h 5977156"/>
              <a:gd name="connsiteX2" fmla="*/ 2935921 w 5923596"/>
              <a:gd name="connsiteY2" fmla="*/ 488 h 5977156"/>
              <a:gd name="connsiteX3" fmla="*/ 5923596 w 5923596"/>
              <a:gd name="connsiteY3" fmla="*/ 2988163 h 5977156"/>
              <a:gd name="connsiteX4" fmla="*/ 2935921 w 5923596"/>
              <a:gd name="connsiteY4" fmla="*/ 5975838 h 5977156"/>
              <a:gd name="connsiteX5" fmla="*/ 2932746 w 5923596"/>
              <a:gd name="connsiteY5" fmla="*/ 5975838 h 5977156"/>
              <a:gd name="connsiteX6" fmla="*/ 0 w 5923596"/>
              <a:gd name="connsiteY6" fmla="*/ 5977156 h 5977156"/>
              <a:gd name="connsiteX7" fmla="*/ 11096 w 5923596"/>
              <a:gd name="connsiteY7" fmla="*/ 0 h 5977156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23596" h="5975838">
                <a:moveTo>
                  <a:pt x="11096" y="0"/>
                </a:moveTo>
                <a:lnTo>
                  <a:pt x="2932746" y="488"/>
                </a:lnTo>
                <a:lnTo>
                  <a:pt x="2935921" y="488"/>
                </a:lnTo>
                <a:cubicBezTo>
                  <a:pt x="4585651" y="488"/>
                  <a:pt x="5923596" y="1338433"/>
                  <a:pt x="5923596" y="2988163"/>
                </a:cubicBezTo>
                <a:cubicBezTo>
                  <a:pt x="5923596" y="4637893"/>
                  <a:pt x="4585651" y="5975838"/>
                  <a:pt x="2935921" y="5975838"/>
                </a:cubicBezTo>
                <a:lnTo>
                  <a:pt x="2932746" y="5975838"/>
                </a:lnTo>
                <a:lnTo>
                  <a:pt x="0" y="5970644"/>
                </a:lnTo>
                <a:cubicBezTo>
                  <a:pt x="1017" y="3984640"/>
                  <a:pt x="10079" y="1986004"/>
                  <a:pt x="11096" y="0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>
              <a:defRPr/>
            </a:lvl1pPr>
          </a:lstStyle>
          <a:p>
            <a:r>
              <a:rPr lang="nb-NO" err="1"/>
              <a:t>Add</a:t>
            </a:r>
            <a:r>
              <a:rPr lang="nb-NO"/>
              <a:t> image to </a:t>
            </a:r>
            <a:r>
              <a:rPr lang="nb-NO" err="1"/>
              <a:t>shap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45230947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480000"/>
            <a:ext cx="10820400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2000" y="1617133"/>
            <a:ext cx="5217160" cy="4307417"/>
          </a:xfrm>
          <a:prstGeom prst="rect">
            <a:avLst/>
          </a:prstGeom>
          <a:solidFill>
            <a:schemeClr val="bg1"/>
          </a:solidFill>
        </p:spPr>
        <p:txBody>
          <a:bodyPr lIns="144000" tIns="144000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noProof="0" err="1"/>
              <a:t>Text</a:t>
            </a:r>
            <a:r>
              <a:rPr lang="nb-NO" noProof="0"/>
              <a:t> first </a:t>
            </a:r>
            <a:r>
              <a:rPr lang="nb-NO" noProof="0" err="1"/>
              <a:t>level</a:t>
            </a:r>
            <a:endParaRPr lang="nb-NO" noProof="0"/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12843" y="1617133"/>
            <a:ext cx="5369557" cy="4307417"/>
          </a:xfrm>
          <a:prstGeom prst="rect">
            <a:avLst/>
          </a:prstGeom>
          <a:solidFill>
            <a:schemeClr val="bg1"/>
          </a:solidFill>
        </p:spPr>
        <p:txBody>
          <a:bodyPr lIns="144000" tIns="144000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noProof="0" err="1"/>
              <a:t>Text</a:t>
            </a:r>
            <a:r>
              <a:rPr lang="nb-NO" noProof="0"/>
              <a:t> first </a:t>
            </a:r>
            <a:r>
              <a:rPr lang="nb-NO" noProof="0" err="1"/>
              <a:t>level</a:t>
            </a:r>
            <a:endParaRPr lang="nb-NO" noProof="0"/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12368568" y="-76676"/>
            <a:ext cx="1749776" cy="2883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Innholdsfeltene kan brukes til tekst,</a:t>
            </a:r>
            <a:r>
              <a:rPr lang="nb-NO" sz="1067" baseline="0" noProof="1"/>
              <a:t> </a:t>
            </a:r>
            <a:r>
              <a:rPr lang="nb-NO" sz="1067" noProof="1"/>
              <a:t>bilder, grafer eller andre</a:t>
            </a:r>
            <a:r>
              <a:rPr lang="nb-NO" sz="1067" baseline="0" noProof="1"/>
              <a:t> element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aseline="0" noProof="1"/>
              <a:t>Ønskes annet innhold enn tekst, v</a:t>
            </a:r>
            <a:r>
              <a:rPr lang="nb-NO" sz="1067" noProof="1"/>
              <a:t>elges</a:t>
            </a:r>
            <a:r>
              <a:rPr lang="nb-NO" sz="1067" baseline="0" noProof="1"/>
              <a:t> dette</a:t>
            </a:r>
            <a:r>
              <a:rPr lang="nb-NO" sz="1067" noProof="1"/>
              <a:t> ved hjelp av ikonene midt i boksen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NB!</a:t>
            </a:r>
            <a:r>
              <a:rPr lang="nb-NO" sz="1067" b="1" baseline="0" noProof="1"/>
              <a:t> </a:t>
            </a:r>
            <a:r>
              <a:rPr lang="nb-NO" sz="1067" noProof="1"/>
              <a:t>Slå</a:t>
            </a:r>
            <a:r>
              <a:rPr lang="nb-NO" sz="1067" baseline="0" noProof="1"/>
              <a:t> gjerne av bullets dersom det ikke er hensiktsmessig med bullets foran hver tekstlinje.</a:t>
            </a:r>
            <a:endParaRPr lang="nb-NO" sz="1067" noProof="1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CED17FE2-94B5-CF4C-BCE6-A71DC5E15387}"/>
              </a:ext>
            </a:extLst>
          </p:cNvPr>
          <p:cNvSpPr txBox="1"/>
          <p:nvPr/>
        </p:nvSpPr>
        <p:spPr>
          <a:xfrm>
            <a:off x="0" y="-383629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wo Columns</a:t>
            </a:r>
          </a:p>
        </p:txBody>
      </p:sp>
    </p:spTree>
    <p:extLst>
      <p:ext uri="{BB962C8B-B14F-4D97-AF65-F5344CB8AC3E}">
        <p14:creationId xmlns:p14="http://schemas.microsoft.com/office/powerpoint/2010/main" val="2702602449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s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480000"/>
            <a:ext cx="10820400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357173" y="-94569"/>
            <a:ext cx="1874423" cy="18986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Innholdsfeltene kan brukes til tekst,</a:t>
            </a:r>
            <a:r>
              <a:rPr lang="nb-NO" sz="1067" baseline="0" noProof="1"/>
              <a:t> </a:t>
            </a:r>
            <a:r>
              <a:rPr lang="nb-NO" sz="1067" noProof="1"/>
              <a:t>bilder, grafer eller andre</a:t>
            </a:r>
            <a:r>
              <a:rPr lang="nb-NO" sz="1067" baseline="0" noProof="1"/>
              <a:t> element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NB!</a:t>
            </a:r>
            <a:r>
              <a:rPr lang="nb-NO" sz="1067" b="1" baseline="0" noProof="1"/>
              <a:t> </a:t>
            </a:r>
            <a:r>
              <a:rPr lang="nb-NO" sz="1067" noProof="1"/>
              <a:t>Slå</a:t>
            </a:r>
            <a:r>
              <a:rPr lang="nb-NO" sz="1067" baseline="0" noProof="1"/>
              <a:t> gjerne av bullets dersom det ikke er hensiktsmessig med bullets foran hver tekstlinje.</a:t>
            </a: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CA8F7157-E8B4-474C-8D57-99BB9FD43947}"/>
              </a:ext>
            </a:extLst>
          </p:cNvPr>
          <p:cNvSpPr txBox="1"/>
          <p:nvPr/>
        </p:nvSpPr>
        <p:spPr>
          <a:xfrm>
            <a:off x="0" y="-381828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wo-columns comparison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72A1B737-3F65-D345-BE96-164FDAC030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07667" y="1617134"/>
            <a:ext cx="5342467" cy="4307417"/>
          </a:xfrm>
          <a:solidFill>
            <a:schemeClr val="accent1"/>
          </a:solidFill>
        </p:spPr>
        <p:txBody>
          <a:bodyPr lIns="180000" tIns="180000" rIns="180000" bIns="180000"/>
          <a:lstStyle>
            <a:lvl1pPr marL="6351" indent="-6351">
              <a:buNone/>
              <a:tabLst/>
              <a:defRPr sz="2000"/>
            </a:lvl1pPr>
            <a:lvl2pPr marL="6351" indent="0">
              <a:buNone/>
              <a:tabLst/>
              <a:defRPr sz="2000" b="1"/>
            </a:lvl2pPr>
            <a:lvl3pPr marL="296326" indent="-289977">
              <a:tabLst/>
              <a:defRPr sz="2000"/>
            </a:lvl3pPr>
            <a:lvl4pPr marL="535504" indent="-239178">
              <a:tabLst/>
              <a:defRPr/>
            </a:lvl4pPr>
            <a:lvl5pPr marL="774681" indent="-18202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3" name="Plassholder for tekst 7">
            <a:extLst>
              <a:ext uri="{FF2B5EF4-FFF2-40B4-BE49-F238E27FC236}">
                <a16:creationId xmlns:a16="http://schemas.microsoft.com/office/drawing/2014/main" id="{60EBD655-1984-954F-986F-72C85D8297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2000" y="1617134"/>
            <a:ext cx="5342467" cy="4307417"/>
          </a:xfrm>
          <a:solidFill>
            <a:schemeClr val="accent1"/>
          </a:solidFill>
        </p:spPr>
        <p:txBody>
          <a:bodyPr lIns="180000" tIns="180000" rIns="180000" bIns="180000"/>
          <a:lstStyle>
            <a:lvl1pPr marL="6351" indent="-6351">
              <a:buNone/>
              <a:tabLst/>
              <a:defRPr sz="2000"/>
            </a:lvl1pPr>
            <a:lvl2pPr marL="6351" indent="0">
              <a:buNone/>
              <a:tabLst/>
              <a:defRPr sz="2000" b="1"/>
            </a:lvl2pPr>
            <a:lvl3pPr marL="296326" indent="-289977">
              <a:tabLst/>
              <a:defRPr sz="2000"/>
            </a:lvl3pPr>
            <a:lvl4pPr marL="535504" indent="-239178">
              <a:tabLst/>
              <a:defRPr/>
            </a:lvl4pPr>
            <a:lvl5pPr marL="774681" indent="-18202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5359645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E9EC4F-10B7-4A02-9346-E28E0880A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466721-301A-41E1-AD61-DF93E3B869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B7C190-2505-4B35-B53C-F2FB1311E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6104F2-5E6B-4C71-917B-6CF52E0225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E0E079-18DE-49A0-97E9-E339E1BE2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325119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62000" y="480000"/>
            <a:ext cx="10820400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nb-NO"/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6C1E7DB7-7266-3C41-97CE-B836463FDC42}"/>
              </a:ext>
            </a:extLst>
          </p:cNvPr>
          <p:cNvSpPr txBox="1"/>
          <p:nvPr/>
        </p:nvSpPr>
        <p:spPr>
          <a:xfrm>
            <a:off x="0" y="-383629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hree columns</a:t>
            </a: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D4B91405-0F87-484B-AD2B-AB5ED13C1561}"/>
              </a:ext>
            </a:extLst>
          </p:cNvPr>
          <p:cNvSpPr txBox="1"/>
          <p:nvPr/>
        </p:nvSpPr>
        <p:spPr>
          <a:xfrm>
            <a:off x="12368568" y="-76676"/>
            <a:ext cx="1749776" cy="2883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Innholdsfeltene kan brukes til tekst,</a:t>
            </a:r>
            <a:r>
              <a:rPr lang="nb-NO" sz="1067" baseline="0" noProof="1"/>
              <a:t> </a:t>
            </a:r>
            <a:r>
              <a:rPr lang="nb-NO" sz="1067" noProof="1"/>
              <a:t>bilder, grafer eller andre</a:t>
            </a:r>
            <a:r>
              <a:rPr lang="nb-NO" sz="1067" baseline="0" noProof="1"/>
              <a:t> element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aseline="0" noProof="1"/>
              <a:t>Ønskes annet innhold enn tekst, v</a:t>
            </a:r>
            <a:r>
              <a:rPr lang="nb-NO" sz="1067" noProof="1"/>
              <a:t>elges</a:t>
            </a:r>
            <a:r>
              <a:rPr lang="nb-NO" sz="1067" baseline="0" noProof="1"/>
              <a:t> dette</a:t>
            </a:r>
            <a:r>
              <a:rPr lang="nb-NO" sz="1067" noProof="1"/>
              <a:t> ved hjelp av ikonene midt i boksen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NB!</a:t>
            </a:r>
            <a:r>
              <a:rPr lang="nb-NO" sz="1067" b="1" baseline="0" noProof="1"/>
              <a:t> </a:t>
            </a:r>
            <a:r>
              <a:rPr lang="nb-NO" sz="1067" noProof="1"/>
              <a:t>Slå</a:t>
            </a:r>
            <a:r>
              <a:rPr lang="nb-NO" sz="1067" baseline="0" noProof="1"/>
              <a:t> gjerne av bullets dersom det ikke er hensiktsmessig med bullets foran hver tekstlinje.</a:t>
            </a:r>
            <a:endParaRPr lang="nb-NO" sz="1067" noProof="1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67F07CC3-2627-0044-A0E1-8402BC248D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2000" y="1617134"/>
            <a:ext cx="3379200" cy="4307417"/>
          </a:xfrm>
          <a:solidFill>
            <a:schemeClr val="accent1"/>
          </a:solidFill>
        </p:spPr>
        <p:txBody>
          <a:bodyPr lIns="180000" tIns="180000" rIns="180000" bIns="180000"/>
          <a:lstStyle>
            <a:lvl1pPr marL="6351" indent="-6351">
              <a:buNone/>
              <a:tabLst/>
              <a:defRPr sz="2000"/>
            </a:lvl1pPr>
            <a:lvl2pPr marL="6351" indent="0">
              <a:buNone/>
              <a:tabLst/>
              <a:defRPr sz="2000" b="1"/>
            </a:lvl2pPr>
            <a:lvl3pPr marL="296326" indent="-289977">
              <a:tabLst/>
              <a:defRPr sz="2000"/>
            </a:lvl3pPr>
            <a:lvl4pPr marL="535504" indent="-239178">
              <a:tabLst/>
              <a:defRPr/>
            </a:lvl4pPr>
            <a:lvl5pPr marL="774681" indent="-18202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lassholder for tekst 7">
            <a:extLst>
              <a:ext uri="{FF2B5EF4-FFF2-40B4-BE49-F238E27FC236}">
                <a16:creationId xmlns:a16="http://schemas.microsoft.com/office/drawing/2014/main" id="{4698C122-EB45-0B49-A1AB-9A7B7396A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03200" y="1617134"/>
            <a:ext cx="3379200" cy="4307417"/>
          </a:xfrm>
          <a:solidFill>
            <a:schemeClr val="accent1"/>
          </a:solidFill>
        </p:spPr>
        <p:txBody>
          <a:bodyPr lIns="180000" tIns="180000" rIns="180000" bIns="180000"/>
          <a:lstStyle>
            <a:lvl1pPr marL="6351" indent="-6351">
              <a:buNone/>
              <a:tabLst/>
              <a:defRPr sz="2000"/>
            </a:lvl1pPr>
            <a:lvl2pPr marL="6351" indent="0">
              <a:buNone/>
              <a:tabLst/>
              <a:defRPr sz="2000" b="1"/>
            </a:lvl2pPr>
            <a:lvl3pPr marL="296326" indent="-289977">
              <a:tabLst/>
              <a:defRPr sz="2000"/>
            </a:lvl3pPr>
            <a:lvl4pPr marL="535504" indent="-239178">
              <a:tabLst/>
              <a:defRPr/>
            </a:lvl4pPr>
            <a:lvl5pPr marL="774681" indent="-18202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lassholder for tekst 7">
            <a:extLst>
              <a:ext uri="{FF2B5EF4-FFF2-40B4-BE49-F238E27FC236}">
                <a16:creationId xmlns:a16="http://schemas.microsoft.com/office/drawing/2014/main" id="{5114DE2F-C86A-724D-994C-8CBB18C7FEA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82600" y="1617134"/>
            <a:ext cx="3379200" cy="4307417"/>
          </a:xfrm>
          <a:solidFill>
            <a:schemeClr val="accent1"/>
          </a:solidFill>
        </p:spPr>
        <p:txBody>
          <a:bodyPr lIns="180000" tIns="180000" rIns="180000" bIns="180000"/>
          <a:lstStyle>
            <a:lvl1pPr marL="6351" indent="-6351">
              <a:buNone/>
              <a:tabLst/>
              <a:defRPr sz="2000"/>
            </a:lvl1pPr>
            <a:lvl2pPr marL="6351" indent="0">
              <a:buNone/>
              <a:tabLst/>
              <a:defRPr sz="2000" b="1"/>
            </a:lvl2pPr>
            <a:lvl3pPr marL="296326" indent="-289977">
              <a:tabLst/>
              <a:defRPr sz="2000"/>
            </a:lvl3pPr>
            <a:lvl4pPr marL="535504" indent="-239178">
              <a:tabLst/>
              <a:defRPr/>
            </a:lvl4pPr>
            <a:lvl5pPr marL="774681" indent="-18202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1706527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tekst 7">
            <a:extLst>
              <a:ext uri="{FF2B5EF4-FFF2-40B4-BE49-F238E27FC236}">
                <a16:creationId xmlns:a16="http://schemas.microsoft.com/office/drawing/2014/main" id="{3D668621-7CFC-1B46-9E33-33B4E7B10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2000" y="1617134"/>
            <a:ext cx="2554112" cy="4307417"/>
          </a:xfrm>
          <a:solidFill>
            <a:schemeClr val="accent1"/>
          </a:solidFill>
        </p:spPr>
        <p:txBody>
          <a:bodyPr lIns="180000" tIns="180000" rIns="180000" bIns="180000"/>
          <a:lstStyle>
            <a:lvl1pPr marL="6351" indent="-6351">
              <a:buNone/>
              <a:tabLst/>
              <a:defRPr sz="1867"/>
            </a:lvl1pPr>
            <a:lvl2pPr marL="6351" indent="0">
              <a:buNone/>
              <a:tabLst/>
              <a:defRPr sz="1867" b="1"/>
            </a:lvl2pPr>
            <a:lvl3pPr marL="296326" indent="-289977">
              <a:tabLst/>
              <a:defRPr sz="1867"/>
            </a:lvl3pPr>
            <a:lvl4pPr marL="535504" indent="-239178">
              <a:tabLst/>
              <a:defRPr/>
            </a:lvl4pPr>
            <a:lvl5pPr marL="774681" indent="-18202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8" name="TextBox 7"/>
          <p:cNvSpPr txBox="1"/>
          <p:nvPr/>
        </p:nvSpPr>
        <p:spPr>
          <a:xfrm>
            <a:off x="12328733" y="1"/>
            <a:ext cx="1862600" cy="30481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Innholdsfeltet kan brukes til tekst eller andre</a:t>
            </a:r>
            <a:r>
              <a:rPr lang="nb-NO" sz="1067" baseline="0" noProof="1"/>
              <a:t> element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Vær</a:t>
            </a:r>
            <a:r>
              <a:rPr lang="nb-NO" sz="1067" baseline="0" noProof="1"/>
              <a:t> oppmerksom på at det finnes egne layoutmaler for heldekkende, utfallende bild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NB!</a:t>
            </a:r>
            <a:r>
              <a:rPr lang="nb-NO" sz="1067" b="1" baseline="0" noProof="1"/>
              <a:t> </a:t>
            </a:r>
            <a:r>
              <a:rPr lang="nb-NO" sz="1067" noProof="1"/>
              <a:t>Slå</a:t>
            </a:r>
            <a:r>
              <a:rPr lang="nb-NO" sz="1067" baseline="0" noProof="1"/>
              <a:t> gjerne av bullets dersom det ikke er hensiktsmessig med bullets foran hver tekstlinje.</a:t>
            </a: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EDD9A8B8-9E9C-9B4A-8337-0CBFBFC32B95}"/>
              </a:ext>
            </a:extLst>
          </p:cNvPr>
          <p:cNvSpPr txBox="1"/>
          <p:nvPr/>
        </p:nvSpPr>
        <p:spPr>
          <a:xfrm>
            <a:off x="0" y="-383629"/>
            <a:ext cx="342971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Four column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480000"/>
            <a:ext cx="10820400" cy="8088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en-US"/>
          </a:p>
        </p:txBody>
      </p:sp>
      <p:sp>
        <p:nvSpPr>
          <p:cNvPr id="15" name="Plassholder for tekst 7">
            <a:extLst>
              <a:ext uri="{FF2B5EF4-FFF2-40B4-BE49-F238E27FC236}">
                <a16:creationId xmlns:a16="http://schemas.microsoft.com/office/drawing/2014/main" id="{28EFC9B6-8754-3B41-AE8D-394265664B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17429" y="1617134"/>
            <a:ext cx="2554112" cy="4307417"/>
          </a:xfrm>
          <a:solidFill>
            <a:schemeClr val="accent1"/>
          </a:solidFill>
        </p:spPr>
        <p:txBody>
          <a:bodyPr lIns="180000" tIns="180000" rIns="180000" bIns="180000"/>
          <a:lstStyle>
            <a:lvl1pPr marL="6351" indent="-6351">
              <a:buNone/>
              <a:tabLst/>
              <a:defRPr sz="1867"/>
            </a:lvl1pPr>
            <a:lvl2pPr marL="6351" indent="0">
              <a:buNone/>
              <a:tabLst/>
              <a:defRPr sz="1867" b="1"/>
            </a:lvl2pPr>
            <a:lvl3pPr marL="296326" indent="-289977">
              <a:tabLst/>
              <a:defRPr sz="1867"/>
            </a:lvl3pPr>
            <a:lvl4pPr marL="535504" indent="-239178">
              <a:tabLst/>
              <a:defRPr/>
            </a:lvl4pPr>
            <a:lvl5pPr marL="774681" indent="-18202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6" name="Plassholder for tekst 7">
            <a:extLst>
              <a:ext uri="{FF2B5EF4-FFF2-40B4-BE49-F238E27FC236}">
                <a16:creationId xmlns:a16="http://schemas.microsoft.com/office/drawing/2014/main" id="{2CB5ECE3-8CE2-4A4C-8253-6D22CBD4563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2859" y="1617134"/>
            <a:ext cx="2554112" cy="4307417"/>
          </a:xfrm>
          <a:solidFill>
            <a:schemeClr val="accent1"/>
          </a:solidFill>
        </p:spPr>
        <p:txBody>
          <a:bodyPr lIns="180000" tIns="180000" rIns="180000" bIns="180000"/>
          <a:lstStyle>
            <a:lvl1pPr marL="6351" indent="-6351">
              <a:buNone/>
              <a:tabLst/>
              <a:defRPr sz="1867"/>
            </a:lvl1pPr>
            <a:lvl2pPr marL="6351" indent="0">
              <a:buNone/>
              <a:tabLst/>
              <a:defRPr sz="1867" b="1"/>
            </a:lvl2pPr>
            <a:lvl3pPr marL="296326" indent="-289977">
              <a:tabLst/>
              <a:defRPr sz="1867"/>
            </a:lvl3pPr>
            <a:lvl4pPr marL="535504" indent="-239178">
              <a:tabLst/>
              <a:defRPr/>
            </a:lvl4pPr>
            <a:lvl5pPr marL="774681" indent="-18202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7" name="Plassholder for tekst 7">
            <a:extLst>
              <a:ext uri="{FF2B5EF4-FFF2-40B4-BE49-F238E27FC236}">
                <a16:creationId xmlns:a16="http://schemas.microsoft.com/office/drawing/2014/main" id="{BDC72A49-C928-E04C-AA6D-065E646DDFA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28288" y="1617134"/>
            <a:ext cx="2554112" cy="4307417"/>
          </a:xfrm>
          <a:solidFill>
            <a:schemeClr val="accent1"/>
          </a:solidFill>
        </p:spPr>
        <p:txBody>
          <a:bodyPr lIns="180000" tIns="180000" rIns="180000" bIns="180000"/>
          <a:lstStyle>
            <a:lvl1pPr marL="6351" indent="-6351">
              <a:buNone/>
              <a:tabLst/>
              <a:defRPr sz="1867"/>
            </a:lvl1pPr>
            <a:lvl2pPr marL="6351" indent="0">
              <a:buNone/>
              <a:tabLst/>
              <a:defRPr sz="1867" b="1"/>
            </a:lvl2pPr>
            <a:lvl3pPr marL="296326" indent="-289977">
              <a:tabLst/>
              <a:defRPr sz="1867"/>
            </a:lvl3pPr>
            <a:lvl4pPr marL="535504" indent="-239178">
              <a:tabLst/>
              <a:defRPr/>
            </a:lvl4pPr>
            <a:lvl5pPr marL="774681" indent="-182029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7050736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and pic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C2FE6D7B-BD37-42F6-AC2D-2476B179B91C}"/>
              </a:ext>
            </a:extLst>
          </p:cNvPr>
          <p:cNvSpPr/>
          <p:nvPr/>
        </p:nvSpPr>
        <p:spPr>
          <a:xfrm>
            <a:off x="-8091" y="-8964"/>
            <a:ext cx="12192000" cy="6212416"/>
          </a:xfrm>
          <a:prstGeom prst="rect">
            <a:avLst/>
          </a:prstGeom>
          <a:solidFill>
            <a:srgbClr val="E8F3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 dirty="0"/>
          </a:p>
        </p:txBody>
      </p:sp>
      <p:sp>
        <p:nvSpPr>
          <p:cNvPr id="37" name="TextBox 170">
            <a:extLst>
              <a:ext uri="{FF2B5EF4-FFF2-40B4-BE49-F238E27FC236}">
                <a16:creationId xmlns:a16="http://schemas.microsoft.com/office/drawing/2014/main" id="{B7B3FBCD-0FC4-4C44-9AEF-A8EBACAD8023}"/>
              </a:ext>
            </a:extLst>
          </p:cNvPr>
          <p:cNvSpPr txBox="1"/>
          <p:nvPr/>
        </p:nvSpPr>
        <p:spPr>
          <a:xfrm>
            <a:off x="12252960" y="55840"/>
            <a:ext cx="1595120" cy="3212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Bilde</a:t>
            </a:r>
            <a:r>
              <a:rPr lang="nb-NO" sz="1067" noProof="1"/>
              <a:t> plasseres i boksen til venstre, sitat til høyre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For plassering og bildestørrelse bruk ‘beskjær’ under fanen ‘bileformat’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0" noProof="0">
                <a:latin typeface="+mn-lt"/>
              </a:rPr>
              <a:t>Velg ønsket farge på </a:t>
            </a:r>
            <a:r>
              <a:rPr lang="nb-NO" sz="1067" b="1" noProof="0">
                <a:latin typeface="+mn-lt"/>
              </a:rPr>
              <a:t>tekstboks</a:t>
            </a:r>
            <a:r>
              <a:rPr lang="nb-NO" sz="1067" b="0" noProof="0">
                <a:latin typeface="+mn-lt"/>
              </a:rPr>
              <a:t> og tekst. 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0" noProof="0">
                <a:latin typeface="+mn-lt"/>
              </a:rPr>
              <a:t>Vær oppmerksom på lovlige farge- kombinasjon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0" noProof="0">
                <a:latin typeface="+mn-lt"/>
              </a:rPr>
              <a:t>Pass på at tekstboksen ligger bak bildet.</a:t>
            </a:r>
          </a:p>
        </p:txBody>
      </p:sp>
      <p:sp>
        <p:nvSpPr>
          <p:cNvPr id="39" name="TextBox 7">
            <a:extLst>
              <a:ext uri="{FF2B5EF4-FFF2-40B4-BE49-F238E27FC236}">
                <a16:creationId xmlns:a16="http://schemas.microsoft.com/office/drawing/2014/main" id="{A71209F6-E47F-3046-BE0F-1D488045D6DB}"/>
              </a:ext>
            </a:extLst>
          </p:cNvPr>
          <p:cNvSpPr txBox="1"/>
          <p:nvPr/>
        </p:nvSpPr>
        <p:spPr>
          <a:xfrm>
            <a:off x="0" y="-381828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Quote and picture green</a:t>
            </a:r>
          </a:p>
        </p:txBody>
      </p:sp>
      <p:sp>
        <p:nvSpPr>
          <p:cNvPr id="10" name="Plassholder for tekst 4">
            <a:extLst>
              <a:ext uri="{FF2B5EF4-FFF2-40B4-BE49-F238E27FC236}">
                <a16:creationId xmlns:a16="http://schemas.microsoft.com/office/drawing/2014/main" id="{21A6F0F6-8E22-4AD7-9A79-2867004F5B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80200" y="1284427"/>
            <a:ext cx="4573944" cy="3263188"/>
          </a:xfrm>
        </p:spPr>
        <p:txBody>
          <a:bodyPr tIns="180000" anchor="t" anchorCtr="0"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3733">
                <a:solidFill>
                  <a:schemeClr val="tx1"/>
                </a:solidFill>
              </a:defRPr>
            </a:lvl1pPr>
            <a:lvl2pPr marL="8466" indent="0">
              <a:buNone/>
              <a:tabLst/>
              <a:defRPr b="1">
                <a:solidFill>
                  <a:schemeClr val="tx2"/>
                </a:solidFill>
              </a:defRPr>
            </a:lvl2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</a:t>
            </a:r>
            <a:r>
              <a:rPr lang="sv-SE" err="1"/>
              <a:t>quote</a:t>
            </a:r>
            <a:endParaRPr lang="sv-SE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2E6BDF90-8A9E-B940-93A1-B935261D17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91281" y="4920223"/>
            <a:ext cx="4573944" cy="799172"/>
          </a:xfrm>
        </p:spPr>
        <p:txBody>
          <a:bodyPr tIns="180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8466" indent="0">
              <a:buNone/>
              <a:tabLst/>
              <a:defRPr b="1">
                <a:solidFill>
                  <a:schemeClr val="tx2"/>
                </a:solidFill>
              </a:defRPr>
            </a:lvl2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</a:t>
            </a:r>
            <a:r>
              <a:rPr lang="sv-SE" err="1"/>
              <a:t>name</a:t>
            </a:r>
            <a:r>
              <a:rPr lang="sv-SE"/>
              <a:t> and </a:t>
            </a:r>
            <a:r>
              <a:rPr lang="sv-SE" err="1"/>
              <a:t>title</a:t>
            </a:r>
            <a:endParaRPr lang="sv-SE"/>
          </a:p>
        </p:txBody>
      </p:sp>
      <p:sp>
        <p:nvSpPr>
          <p:cNvPr id="16" name="Plassholder for bilde 28">
            <a:extLst>
              <a:ext uri="{FF2B5EF4-FFF2-40B4-BE49-F238E27FC236}">
                <a16:creationId xmlns:a16="http://schemas.microsoft.com/office/drawing/2014/main" id="{0003430E-8D4D-44BB-BE0E-8436F53C8523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8090" y="-8964"/>
            <a:ext cx="6130545" cy="6212416"/>
          </a:xfrm>
          <a:custGeom>
            <a:avLst/>
            <a:gdLst>
              <a:gd name="connsiteX0" fmla="*/ 0 w 6394450"/>
              <a:gd name="connsiteY0" fmla="*/ 0 h 5975350"/>
              <a:gd name="connsiteX1" fmla="*/ 3403600 w 6394450"/>
              <a:gd name="connsiteY1" fmla="*/ 0 h 5975350"/>
              <a:gd name="connsiteX2" fmla="*/ 3406775 w 6394450"/>
              <a:gd name="connsiteY2" fmla="*/ 0 h 5975350"/>
              <a:gd name="connsiteX3" fmla="*/ 6394450 w 6394450"/>
              <a:gd name="connsiteY3" fmla="*/ 2987675 h 5975350"/>
              <a:gd name="connsiteX4" fmla="*/ 3406775 w 6394450"/>
              <a:gd name="connsiteY4" fmla="*/ 5975350 h 5975350"/>
              <a:gd name="connsiteX5" fmla="*/ 3403600 w 6394450"/>
              <a:gd name="connsiteY5" fmla="*/ 5975350 h 5975350"/>
              <a:gd name="connsiteX6" fmla="*/ 0 w 6394450"/>
              <a:gd name="connsiteY6" fmla="*/ 5975350 h 5975350"/>
              <a:gd name="connsiteX0" fmla="*/ 492259 w 6394450"/>
              <a:gd name="connsiteY0" fmla="*/ 11720 h 5975350"/>
              <a:gd name="connsiteX1" fmla="*/ 3403600 w 6394450"/>
              <a:gd name="connsiteY1" fmla="*/ 0 h 5975350"/>
              <a:gd name="connsiteX2" fmla="*/ 3406775 w 6394450"/>
              <a:gd name="connsiteY2" fmla="*/ 0 h 5975350"/>
              <a:gd name="connsiteX3" fmla="*/ 6394450 w 6394450"/>
              <a:gd name="connsiteY3" fmla="*/ 2987675 h 5975350"/>
              <a:gd name="connsiteX4" fmla="*/ 3406775 w 6394450"/>
              <a:gd name="connsiteY4" fmla="*/ 5975350 h 5975350"/>
              <a:gd name="connsiteX5" fmla="*/ 3403600 w 6394450"/>
              <a:gd name="connsiteY5" fmla="*/ 5975350 h 5975350"/>
              <a:gd name="connsiteX6" fmla="*/ 0 w 6394450"/>
              <a:gd name="connsiteY6" fmla="*/ 5975350 h 5975350"/>
              <a:gd name="connsiteX7" fmla="*/ 492259 w 6394450"/>
              <a:gd name="connsiteY7" fmla="*/ 11720 h 5975350"/>
              <a:gd name="connsiteX0" fmla="*/ 0 w 5902191"/>
              <a:gd name="connsiteY0" fmla="*/ 11720 h 5975350"/>
              <a:gd name="connsiteX1" fmla="*/ 2911341 w 5902191"/>
              <a:gd name="connsiteY1" fmla="*/ 0 h 5975350"/>
              <a:gd name="connsiteX2" fmla="*/ 2914516 w 5902191"/>
              <a:gd name="connsiteY2" fmla="*/ 0 h 5975350"/>
              <a:gd name="connsiteX3" fmla="*/ 5902191 w 5902191"/>
              <a:gd name="connsiteY3" fmla="*/ 2987675 h 5975350"/>
              <a:gd name="connsiteX4" fmla="*/ 2914516 w 5902191"/>
              <a:gd name="connsiteY4" fmla="*/ 5975350 h 5975350"/>
              <a:gd name="connsiteX5" fmla="*/ 2911341 w 5902191"/>
              <a:gd name="connsiteY5" fmla="*/ 5975350 h 5975350"/>
              <a:gd name="connsiteX6" fmla="*/ 0 w 5902191"/>
              <a:gd name="connsiteY6" fmla="*/ 5963630 h 5975350"/>
              <a:gd name="connsiteX7" fmla="*/ 0 w 5902191"/>
              <a:gd name="connsiteY7" fmla="*/ 11720 h 5975350"/>
              <a:gd name="connsiteX0" fmla="*/ 3052 w 5902191"/>
              <a:gd name="connsiteY0" fmla="*/ 5617 h 5975350"/>
              <a:gd name="connsiteX1" fmla="*/ 2911341 w 5902191"/>
              <a:gd name="connsiteY1" fmla="*/ 0 h 5975350"/>
              <a:gd name="connsiteX2" fmla="*/ 2914516 w 5902191"/>
              <a:gd name="connsiteY2" fmla="*/ 0 h 5975350"/>
              <a:gd name="connsiteX3" fmla="*/ 5902191 w 5902191"/>
              <a:gd name="connsiteY3" fmla="*/ 2987675 h 5975350"/>
              <a:gd name="connsiteX4" fmla="*/ 2914516 w 5902191"/>
              <a:gd name="connsiteY4" fmla="*/ 5975350 h 5975350"/>
              <a:gd name="connsiteX5" fmla="*/ 2911341 w 5902191"/>
              <a:gd name="connsiteY5" fmla="*/ 5975350 h 5975350"/>
              <a:gd name="connsiteX6" fmla="*/ 0 w 5902191"/>
              <a:gd name="connsiteY6" fmla="*/ 5963630 h 5975350"/>
              <a:gd name="connsiteX7" fmla="*/ 3052 w 5902191"/>
              <a:gd name="connsiteY7" fmla="*/ 5617 h 5975350"/>
              <a:gd name="connsiteX0" fmla="*/ 6104 w 5905243"/>
              <a:gd name="connsiteY0" fmla="*/ 5617 h 5981945"/>
              <a:gd name="connsiteX1" fmla="*/ 2914393 w 5905243"/>
              <a:gd name="connsiteY1" fmla="*/ 0 h 5981945"/>
              <a:gd name="connsiteX2" fmla="*/ 2917568 w 5905243"/>
              <a:gd name="connsiteY2" fmla="*/ 0 h 5981945"/>
              <a:gd name="connsiteX3" fmla="*/ 5905243 w 5905243"/>
              <a:gd name="connsiteY3" fmla="*/ 2987675 h 5981945"/>
              <a:gd name="connsiteX4" fmla="*/ 2917568 w 5905243"/>
              <a:gd name="connsiteY4" fmla="*/ 5975350 h 5981945"/>
              <a:gd name="connsiteX5" fmla="*/ 2914393 w 5905243"/>
              <a:gd name="connsiteY5" fmla="*/ 5975350 h 5981945"/>
              <a:gd name="connsiteX6" fmla="*/ 0 w 5905243"/>
              <a:gd name="connsiteY6" fmla="*/ 5981945 h 5981945"/>
              <a:gd name="connsiteX7" fmla="*/ 6104 w 5905243"/>
              <a:gd name="connsiteY7" fmla="*/ 5617 h 5981945"/>
              <a:gd name="connsiteX0" fmla="*/ 6104 w 5905243"/>
              <a:gd name="connsiteY0" fmla="*/ 0 h 5982433"/>
              <a:gd name="connsiteX1" fmla="*/ 2914393 w 5905243"/>
              <a:gd name="connsiteY1" fmla="*/ 488 h 5982433"/>
              <a:gd name="connsiteX2" fmla="*/ 2917568 w 5905243"/>
              <a:gd name="connsiteY2" fmla="*/ 488 h 5982433"/>
              <a:gd name="connsiteX3" fmla="*/ 5905243 w 5905243"/>
              <a:gd name="connsiteY3" fmla="*/ 2988163 h 5982433"/>
              <a:gd name="connsiteX4" fmla="*/ 2917568 w 5905243"/>
              <a:gd name="connsiteY4" fmla="*/ 5975838 h 5982433"/>
              <a:gd name="connsiteX5" fmla="*/ 2914393 w 5905243"/>
              <a:gd name="connsiteY5" fmla="*/ 5975838 h 5982433"/>
              <a:gd name="connsiteX6" fmla="*/ 0 w 5905243"/>
              <a:gd name="connsiteY6" fmla="*/ 5982433 h 5982433"/>
              <a:gd name="connsiteX7" fmla="*/ 6104 w 5905243"/>
              <a:gd name="connsiteY7" fmla="*/ 0 h 5982433"/>
              <a:gd name="connsiteX0" fmla="*/ 12209 w 5911348"/>
              <a:gd name="connsiteY0" fmla="*/ 0 h 5975838"/>
              <a:gd name="connsiteX1" fmla="*/ 2920498 w 5911348"/>
              <a:gd name="connsiteY1" fmla="*/ 488 h 5975838"/>
              <a:gd name="connsiteX2" fmla="*/ 2923673 w 5911348"/>
              <a:gd name="connsiteY2" fmla="*/ 488 h 5975838"/>
              <a:gd name="connsiteX3" fmla="*/ 5911348 w 5911348"/>
              <a:gd name="connsiteY3" fmla="*/ 2988163 h 5975838"/>
              <a:gd name="connsiteX4" fmla="*/ 2923673 w 5911348"/>
              <a:gd name="connsiteY4" fmla="*/ 5975838 h 5975838"/>
              <a:gd name="connsiteX5" fmla="*/ 2920498 w 5911348"/>
              <a:gd name="connsiteY5" fmla="*/ 5975838 h 5975838"/>
              <a:gd name="connsiteX6" fmla="*/ 0 w 5911348"/>
              <a:gd name="connsiteY6" fmla="*/ 5970236 h 5975838"/>
              <a:gd name="connsiteX7" fmla="*/ 12209 w 5911348"/>
              <a:gd name="connsiteY7" fmla="*/ 0 h 5975838"/>
              <a:gd name="connsiteX0" fmla="*/ 203 w 5912703"/>
              <a:gd name="connsiteY0" fmla="*/ 0 h 5975838"/>
              <a:gd name="connsiteX1" fmla="*/ 2921853 w 5912703"/>
              <a:gd name="connsiteY1" fmla="*/ 488 h 5975838"/>
              <a:gd name="connsiteX2" fmla="*/ 2925028 w 5912703"/>
              <a:gd name="connsiteY2" fmla="*/ 488 h 5975838"/>
              <a:gd name="connsiteX3" fmla="*/ 5912703 w 5912703"/>
              <a:gd name="connsiteY3" fmla="*/ 2988163 h 5975838"/>
              <a:gd name="connsiteX4" fmla="*/ 2925028 w 5912703"/>
              <a:gd name="connsiteY4" fmla="*/ 5975838 h 5975838"/>
              <a:gd name="connsiteX5" fmla="*/ 2921853 w 5912703"/>
              <a:gd name="connsiteY5" fmla="*/ 5975838 h 5975838"/>
              <a:gd name="connsiteX6" fmla="*/ 1355 w 5912703"/>
              <a:gd name="connsiteY6" fmla="*/ 5970236 h 5975838"/>
              <a:gd name="connsiteX7" fmla="*/ 203 w 5912703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64132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64132 h 5975838"/>
              <a:gd name="connsiteX7" fmla="*/ 11096 w 5923596"/>
              <a:gd name="connsiteY7" fmla="*/ 0 h 5975838"/>
              <a:gd name="connsiteX0" fmla="*/ 11096 w 5923596"/>
              <a:gd name="connsiteY0" fmla="*/ 0 h 5977156"/>
              <a:gd name="connsiteX1" fmla="*/ 2932746 w 5923596"/>
              <a:gd name="connsiteY1" fmla="*/ 488 h 5977156"/>
              <a:gd name="connsiteX2" fmla="*/ 2935921 w 5923596"/>
              <a:gd name="connsiteY2" fmla="*/ 488 h 5977156"/>
              <a:gd name="connsiteX3" fmla="*/ 5923596 w 5923596"/>
              <a:gd name="connsiteY3" fmla="*/ 2988163 h 5977156"/>
              <a:gd name="connsiteX4" fmla="*/ 2935921 w 5923596"/>
              <a:gd name="connsiteY4" fmla="*/ 5975838 h 5977156"/>
              <a:gd name="connsiteX5" fmla="*/ 2932746 w 5923596"/>
              <a:gd name="connsiteY5" fmla="*/ 5975838 h 5977156"/>
              <a:gd name="connsiteX6" fmla="*/ 0 w 5923596"/>
              <a:gd name="connsiteY6" fmla="*/ 5977156 h 5977156"/>
              <a:gd name="connsiteX7" fmla="*/ 11096 w 5923596"/>
              <a:gd name="connsiteY7" fmla="*/ 0 h 5977156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23596" h="5975838">
                <a:moveTo>
                  <a:pt x="11096" y="0"/>
                </a:moveTo>
                <a:lnTo>
                  <a:pt x="2932746" y="488"/>
                </a:lnTo>
                <a:lnTo>
                  <a:pt x="2935921" y="488"/>
                </a:lnTo>
                <a:cubicBezTo>
                  <a:pt x="4585651" y="488"/>
                  <a:pt x="5923596" y="1338433"/>
                  <a:pt x="5923596" y="2988163"/>
                </a:cubicBezTo>
                <a:cubicBezTo>
                  <a:pt x="5923596" y="4637893"/>
                  <a:pt x="4585651" y="5975838"/>
                  <a:pt x="2935921" y="5975838"/>
                </a:cubicBezTo>
                <a:lnTo>
                  <a:pt x="2932746" y="5975838"/>
                </a:lnTo>
                <a:lnTo>
                  <a:pt x="0" y="5970644"/>
                </a:lnTo>
                <a:cubicBezTo>
                  <a:pt x="1017" y="3984640"/>
                  <a:pt x="10079" y="1986004"/>
                  <a:pt x="11096" y="0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>
              <a:defRPr/>
            </a:lvl1pPr>
          </a:lstStyle>
          <a:p>
            <a:r>
              <a:rPr lang="nb-NO" err="1"/>
              <a:t>Add</a:t>
            </a:r>
            <a:r>
              <a:rPr lang="nb-NO"/>
              <a:t> image to </a:t>
            </a:r>
            <a:r>
              <a:rPr lang="nb-NO" err="1"/>
              <a:t>shape</a:t>
            </a:r>
            <a:endParaRPr lang="nb-NO"/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F55EB93-A5DC-440E-A47D-9DF0BC1215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rot="10800000">
            <a:off x="6680201" y="821037"/>
            <a:ext cx="668889" cy="46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2775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and pictur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A9C0C1D0-481B-4F32-AFB2-D7876FDD8901}"/>
              </a:ext>
            </a:extLst>
          </p:cNvPr>
          <p:cNvSpPr/>
          <p:nvPr/>
        </p:nvSpPr>
        <p:spPr>
          <a:xfrm>
            <a:off x="0" y="-11953"/>
            <a:ext cx="12192000" cy="6212417"/>
          </a:xfrm>
          <a:prstGeom prst="rect">
            <a:avLst/>
          </a:prstGeom>
          <a:solidFill>
            <a:srgbClr val="FDF4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4" name="Plassholder for bilde 28">
            <a:extLst>
              <a:ext uri="{FF2B5EF4-FFF2-40B4-BE49-F238E27FC236}">
                <a16:creationId xmlns:a16="http://schemas.microsoft.com/office/drawing/2014/main" id="{7743C455-2D00-4FD0-B541-6C868C36D1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8090" y="-11952"/>
            <a:ext cx="6130545" cy="6212416"/>
          </a:xfrm>
          <a:custGeom>
            <a:avLst/>
            <a:gdLst>
              <a:gd name="connsiteX0" fmla="*/ 0 w 6394450"/>
              <a:gd name="connsiteY0" fmla="*/ 0 h 5975350"/>
              <a:gd name="connsiteX1" fmla="*/ 3403600 w 6394450"/>
              <a:gd name="connsiteY1" fmla="*/ 0 h 5975350"/>
              <a:gd name="connsiteX2" fmla="*/ 3406775 w 6394450"/>
              <a:gd name="connsiteY2" fmla="*/ 0 h 5975350"/>
              <a:gd name="connsiteX3" fmla="*/ 6394450 w 6394450"/>
              <a:gd name="connsiteY3" fmla="*/ 2987675 h 5975350"/>
              <a:gd name="connsiteX4" fmla="*/ 3406775 w 6394450"/>
              <a:gd name="connsiteY4" fmla="*/ 5975350 h 5975350"/>
              <a:gd name="connsiteX5" fmla="*/ 3403600 w 6394450"/>
              <a:gd name="connsiteY5" fmla="*/ 5975350 h 5975350"/>
              <a:gd name="connsiteX6" fmla="*/ 0 w 6394450"/>
              <a:gd name="connsiteY6" fmla="*/ 5975350 h 5975350"/>
              <a:gd name="connsiteX0" fmla="*/ 492259 w 6394450"/>
              <a:gd name="connsiteY0" fmla="*/ 11720 h 5975350"/>
              <a:gd name="connsiteX1" fmla="*/ 3403600 w 6394450"/>
              <a:gd name="connsiteY1" fmla="*/ 0 h 5975350"/>
              <a:gd name="connsiteX2" fmla="*/ 3406775 w 6394450"/>
              <a:gd name="connsiteY2" fmla="*/ 0 h 5975350"/>
              <a:gd name="connsiteX3" fmla="*/ 6394450 w 6394450"/>
              <a:gd name="connsiteY3" fmla="*/ 2987675 h 5975350"/>
              <a:gd name="connsiteX4" fmla="*/ 3406775 w 6394450"/>
              <a:gd name="connsiteY4" fmla="*/ 5975350 h 5975350"/>
              <a:gd name="connsiteX5" fmla="*/ 3403600 w 6394450"/>
              <a:gd name="connsiteY5" fmla="*/ 5975350 h 5975350"/>
              <a:gd name="connsiteX6" fmla="*/ 0 w 6394450"/>
              <a:gd name="connsiteY6" fmla="*/ 5975350 h 5975350"/>
              <a:gd name="connsiteX7" fmla="*/ 492259 w 6394450"/>
              <a:gd name="connsiteY7" fmla="*/ 11720 h 5975350"/>
              <a:gd name="connsiteX0" fmla="*/ 0 w 5902191"/>
              <a:gd name="connsiteY0" fmla="*/ 11720 h 5975350"/>
              <a:gd name="connsiteX1" fmla="*/ 2911341 w 5902191"/>
              <a:gd name="connsiteY1" fmla="*/ 0 h 5975350"/>
              <a:gd name="connsiteX2" fmla="*/ 2914516 w 5902191"/>
              <a:gd name="connsiteY2" fmla="*/ 0 h 5975350"/>
              <a:gd name="connsiteX3" fmla="*/ 5902191 w 5902191"/>
              <a:gd name="connsiteY3" fmla="*/ 2987675 h 5975350"/>
              <a:gd name="connsiteX4" fmla="*/ 2914516 w 5902191"/>
              <a:gd name="connsiteY4" fmla="*/ 5975350 h 5975350"/>
              <a:gd name="connsiteX5" fmla="*/ 2911341 w 5902191"/>
              <a:gd name="connsiteY5" fmla="*/ 5975350 h 5975350"/>
              <a:gd name="connsiteX6" fmla="*/ 0 w 5902191"/>
              <a:gd name="connsiteY6" fmla="*/ 5963630 h 5975350"/>
              <a:gd name="connsiteX7" fmla="*/ 0 w 5902191"/>
              <a:gd name="connsiteY7" fmla="*/ 11720 h 5975350"/>
              <a:gd name="connsiteX0" fmla="*/ 3052 w 5902191"/>
              <a:gd name="connsiteY0" fmla="*/ 5617 h 5975350"/>
              <a:gd name="connsiteX1" fmla="*/ 2911341 w 5902191"/>
              <a:gd name="connsiteY1" fmla="*/ 0 h 5975350"/>
              <a:gd name="connsiteX2" fmla="*/ 2914516 w 5902191"/>
              <a:gd name="connsiteY2" fmla="*/ 0 h 5975350"/>
              <a:gd name="connsiteX3" fmla="*/ 5902191 w 5902191"/>
              <a:gd name="connsiteY3" fmla="*/ 2987675 h 5975350"/>
              <a:gd name="connsiteX4" fmla="*/ 2914516 w 5902191"/>
              <a:gd name="connsiteY4" fmla="*/ 5975350 h 5975350"/>
              <a:gd name="connsiteX5" fmla="*/ 2911341 w 5902191"/>
              <a:gd name="connsiteY5" fmla="*/ 5975350 h 5975350"/>
              <a:gd name="connsiteX6" fmla="*/ 0 w 5902191"/>
              <a:gd name="connsiteY6" fmla="*/ 5963630 h 5975350"/>
              <a:gd name="connsiteX7" fmla="*/ 3052 w 5902191"/>
              <a:gd name="connsiteY7" fmla="*/ 5617 h 5975350"/>
              <a:gd name="connsiteX0" fmla="*/ 6104 w 5905243"/>
              <a:gd name="connsiteY0" fmla="*/ 5617 h 5981945"/>
              <a:gd name="connsiteX1" fmla="*/ 2914393 w 5905243"/>
              <a:gd name="connsiteY1" fmla="*/ 0 h 5981945"/>
              <a:gd name="connsiteX2" fmla="*/ 2917568 w 5905243"/>
              <a:gd name="connsiteY2" fmla="*/ 0 h 5981945"/>
              <a:gd name="connsiteX3" fmla="*/ 5905243 w 5905243"/>
              <a:gd name="connsiteY3" fmla="*/ 2987675 h 5981945"/>
              <a:gd name="connsiteX4" fmla="*/ 2917568 w 5905243"/>
              <a:gd name="connsiteY4" fmla="*/ 5975350 h 5981945"/>
              <a:gd name="connsiteX5" fmla="*/ 2914393 w 5905243"/>
              <a:gd name="connsiteY5" fmla="*/ 5975350 h 5981945"/>
              <a:gd name="connsiteX6" fmla="*/ 0 w 5905243"/>
              <a:gd name="connsiteY6" fmla="*/ 5981945 h 5981945"/>
              <a:gd name="connsiteX7" fmla="*/ 6104 w 5905243"/>
              <a:gd name="connsiteY7" fmla="*/ 5617 h 5981945"/>
              <a:gd name="connsiteX0" fmla="*/ 6104 w 5905243"/>
              <a:gd name="connsiteY0" fmla="*/ 0 h 5982433"/>
              <a:gd name="connsiteX1" fmla="*/ 2914393 w 5905243"/>
              <a:gd name="connsiteY1" fmla="*/ 488 h 5982433"/>
              <a:gd name="connsiteX2" fmla="*/ 2917568 w 5905243"/>
              <a:gd name="connsiteY2" fmla="*/ 488 h 5982433"/>
              <a:gd name="connsiteX3" fmla="*/ 5905243 w 5905243"/>
              <a:gd name="connsiteY3" fmla="*/ 2988163 h 5982433"/>
              <a:gd name="connsiteX4" fmla="*/ 2917568 w 5905243"/>
              <a:gd name="connsiteY4" fmla="*/ 5975838 h 5982433"/>
              <a:gd name="connsiteX5" fmla="*/ 2914393 w 5905243"/>
              <a:gd name="connsiteY5" fmla="*/ 5975838 h 5982433"/>
              <a:gd name="connsiteX6" fmla="*/ 0 w 5905243"/>
              <a:gd name="connsiteY6" fmla="*/ 5982433 h 5982433"/>
              <a:gd name="connsiteX7" fmla="*/ 6104 w 5905243"/>
              <a:gd name="connsiteY7" fmla="*/ 0 h 5982433"/>
              <a:gd name="connsiteX0" fmla="*/ 12209 w 5911348"/>
              <a:gd name="connsiteY0" fmla="*/ 0 h 5975838"/>
              <a:gd name="connsiteX1" fmla="*/ 2920498 w 5911348"/>
              <a:gd name="connsiteY1" fmla="*/ 488 h 5975838"/>
              <a:gd name="connsiteX2" fmla="*/ 2923673 w 5911348"/>
              <a:gd name="connsiteY2" fmla="*/ 488 h 5975838"/>
              <a:gd name="connsiteX3" fmla="*/ 5911348 w 5911348"/>
              <a:gd name="connsiteY3" fmla="*/ 2988163 h 5975838"/>
              <a:gd name="connsiteX4" fmla="*/ 2923673 w 5911348"/>
              <a:gd name="connsiteY4" fmla="*/ 5975838 h 5975838"/>
              <a:gd name="connsiteX5" fmla="*/ 2920498 w 5911348"/>
              <a:gd name="connsiteY5" fmla="*/ 5975838 h 5975838"/>
              <a:gd name="connsiteX6" fmla="*/ 0 w 5911348"/>
              <a:gd name="connsiteY6" fmla="*/ 5970236 h 5975838"/>
              <a:gd name="connsiteX7" fmla="*/ 12209 w 5911348"/>
              <a:gd name="connsiteY7" fmla="*/ 0 h 5975838"/>
              <a:gd name="connsiteX0" fmla="*/ 203 w 5912703"/>
              <a:gd name="connsiteY0" fmla="*/ 0 h 5975838"/>
              <a:gd name="connsiteX1" fmla="*/ 2921853 w 5912703"/>
              <a:gd name="connsiteY1" fmla="*/ 488 h 5975838"/>
              <a:gd name="connsiteX2" fmla="*/ 2925028 w 5912703"/>
              <a:gd name="connsiteY2" fmla="*/ 488 h 5975838"/>
              <a:gd name="connsiteX3" fmla="*/ 5912703 w 5912703"/>
              <a:gd name="connsiteY3" fmla="*/ 2988163 h 5975838"/>
              <a:gd name="connsiteX4" fmla="*/ 2925028 w 5912703"/>
              <a:gd name="connsiteY4" fmla="*/ 5975838 h 5975838"/>
              <a:gd name="connsiteX5" fmla="*/ 2921853 w 5912703"/>
              <a:gd name="connsiteY5" fmla="*/ 5975838 h 5975838"/>
              <a:gd name="connsiteX6" fmla="*/ 1355 w 5912703"/>
              <a:gd name="connsiteY6" fmla="*/ 5970236 h 5975838"/>
              <a:gd name="connsiteX7" fmla="*/ 203 w 5912703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64132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64132 h 5975838"/>
              <a:gd name="connsiteX7" fmla="*/ 11096 w 5923596"/>
              <a:gd name="connsiteY7" fmla="*/ 0 h 5975838"/>
              <a:gd name="connsiteX0" fmla="*/ 11096 w 5923596"/>
              <a:gd name="connsiteY0" fmla="*/ 0 h 5977156"/>
              <a:gd name="connsiteX1" fmla="*/ 2932746 w 5923596"/>
              <a:gd name="connsiteY1" fmla="*/ 488 h 5977156"/>
              <a:gd name="connsiteX2" fmla="*/ 2935921 w 5923596"/>
              <a:gd name="connsiteY2" fmla="*/ 488 h 5977156"/>
              <a:gd name="connsiteX3" fmla="*/ 5923596 w 5923596"/>
              <a:gd name="connsiteY3" fmla="*/ 2988163 h 5977156"/>
              <a:gd name="connsiteX4" fmla="*/ 2935921 w 5923596"/>
              <a:gd name="connsiteY4" fmla="*/ 5975838 h 5977156"/>
              <a:gd name="connsiteX5" fmla="*/ 2932746 w 5923596"/>
              <a:gd name="connsiteY5" fmla="*/ 5975838 h 5977156"/>
              <a:gd name="connsiteX6" fmla="*/ 0 w 5923596"/>
              <a:gd name="connsiteY6" fmla="*/ 5977156 h 5977156"/>
              <a:gd name="connsiteX7" fmla="*/ 11096 w 5923596"/>
              <a:gd name="connsiteY7" fmla="*/ 0 h 5977156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  <a:gd name="connsiteX0" fmla="*/ 11096 w 5923596"/>
              <a:gd name="connsiteY0" fmla="*/ 0 h 5975838"/>
              <a:gd name="connsiteX1" fmla="*/ 2932746 w 5923596"/>
              <a:gd name="connsiteY1" fmla="*/ 488 h 5975838"/>
              <a:gd name="connsiteX2" fmla="*/ 2935921 w 5923596"/>
              <a:gd name="connsiteY2" fmla="*/ 488 h 5975838"/>
              <a:gd name="connsiteX3" fmla="*/ 5923596 w 5923596"/>
              <a:gd name="connsiteY3" fmla="*/ 2988163 h 5975838"/>
              <a:gd name="connsiteX4" fmla="*/ 2935921 w 5923596"/>
              <a:gd name="connsiteY4" fmla="*/ 5975838 h 5975838"/>
              <a:gd name="connsiteX5" fmla="*/ 2932746 w 5923596"/>
              <a:gd name="connsiteY5" fmla="*/ 5975838 h 5975838"/>
              <a:gd name="connsiteX6" fmla="*/ 0 w 5923596"/>
              <a:gd name="connsiteY6" fmla="*/ 5970644 h 5975838"/>
              <a:gd name="connsiteX7" fmla="*/ 11096 w 5923596"/>
              <a:gd name="connsiteY7" fmla="*/ 0 h 5975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23596" h="5975838">
                <a:moveTo>
                  <a:pt x="11096" y="0"/>
                </a:moveTo>
                <a:lnTo>
                  <a:pt x="2932746" y="488"/>
                </a:lnTo>
                <a:lnTo>
                  <a:pt x="2935921" y="488"/>
                </a:lnTo>
                <a:cubicBezTo>
                  <a:pt x="4585651" y="488"/>
                  <a:pt x="5923596" y="1338433"/>
                  <a:pt x="5923596" y="2988163"/>
                </a:cubicBezTo>
                <a:cubicBezTo>
                  <a:pt x="5923596" y="4637893"/>
                  <a:pt x="4585651" y="5975838"/>
                  <a:pt x="2935921" y="5975838"/>
                </a:cubicBezTo>
                <a:lnTo>
                  <a:pt x="2932746" y="5975838"/>
                </a:lnTo>
                <a:lnTo>
                  <a:pt x="0" y="5970644"/>
                </a:lnTo>
                <a:cubicBezTo>
                  <a:pt x="1017" y="3984640"/>
                  <a:pt x="10079" y="1986004"/>
                  <a:pt x="11096" y="0"/>
                </a:cubicBez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>
              <a:defRPr/>
            </a:lvl1pPr>
          </a:lstStyle>
          <a:p>
            <a:r>
              <a:rPr lang="nb-NO" err="1"/>
              <a:t>Add</a:t>
            </a:r>
            <a:r>
              <a:rPr lang="nb-NO"/>
              <a:t> image to </a:t>
            </a:r>
            <a:r>
              <a:rPr lang="nb-NO" err="1"/>
              <a:t>shape</a:t>
            </a:r>
            <a:endParaRPr lang="nb-NO"/>
          </a:p>
        </p:txBody>
      </p:sp>
      <p:sp>
        <p:nvSpPr>
          <p:cNvPr id="37" name="TextBox 170">
            <a:extLst>
              <a:ext uri="{FF2B5EF4-FFF2-40B4-BE49-F238E27FC236}">
                <a16:creationId xmlns:a16="http://schemas.microsoft.com/office/drawing/2014/main" id="{B7B3FBCD-0FC4-4C44-9AEF-A8EBACAD8023}"/>
              </a:ext>
            </a:extLst>
          </p:cNvPr>
          <p:cNvSpPr txBox="1"/>
          <p:nvPr/>
        </p:nvSpPr>
        <p:spPr>
          <a:xfrm>
            <a:off x="12252960" y="55840"/>
            <a:ext cx="1595120" cy="3212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Bilde</a:t>
            </a:r>
            <a:r>
              <a:rPr lang="nb-NO" sz="1067" noProof="1"/>
              <a:t> plasseres i boksen til venstre, sitat til høyre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For plassering og bildestørrelse bruk ‘beskjær’ under fanen ‘bileformat’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0" noProof="0">
                <a:latin typeface="+mn-lt"/>
              </a:rPr>
              <a:t>Velg ønsket farge på </a:t>
            </a:r>
            <a:r>
              <a:rPr lang="nb-NO" sz="1067" b="1" noProof="0">
                <a:latin typeface="+mn-lt"/>
              </a:rPr>
              <a:t>tekstboks</a:t>
            </a:r>
            <a:r>
              <a:rPr lang="nb-NO" sz="1067" b="0" noProof="0">
                <a:latin typeface="+mn-lt"/>
              </a:rPr>
              <a:t> og tekst. 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0" noProof="0">
                <a:latin typeface="+mn-lt"/>
              </a:rPr>
              <a:t>Vær oppmerksom på lovlige farge- kombinasjon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0" noProof="0">
                <a:latin typeface="+mn-lt"/>
              </a:rPr>
              <a:t>Pass på at tekstboksen ligger bak bildet.</a:t>
            </a:r>
          </a:p>
        </p:txBody>
      </p:sp>
      <p:sp>
        <p:nvSpPr>
          <p:cNvPr id="39" name="TextBox 7">
            <a:extLst>
              <a:ext uri="{FF2B5EF4-FFF2-40B4-BE49-F238E27FC236}">
                <a16:creationId xmlns:a16="http://schemas.microsoft.com/office/drawing/2014/main" id="{A71209F6-E47F-3046-BE0F-1D488045D6DB}"/>
              </a:ext>
            </a:extLst>
          </p:cNvPr>
          <p:cNvSpPr txBox="1"/>
          <p:nvPr/>
        </p:nvSpPr>
        <p:spPr>
          <a:xfrm>
            <a:off x="0" y="-381828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Quote and picture beige</a:t>
            </a:r>
          </a:p>
        </p:txBody>
      </p:sp>
      <p:sp>
        <p:nvSpPr>
          <p:cNvPr id="10" name="Plassholder for tekst 4">
            <a:extLst>
              <a:ext uri="{FF2B5EF4-FFF2-40B4-BE49-F238E27FC236}">
                <a16:creationId xmlns:a16="http://schemas.microsoft.com/office/drawing/2014/main" id="{21A6F0F6-8E22-4AD7-9A79-2867004F5B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80200" y="1284427"/>
            <a:ext cx="4573944" cy="3263188"/>
          </a:xfrm>
        </p:spPr>
        <p:txBody>
          <a:bodyPr tIns="180000" anchor="t" anchorCtr="0"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3733">
                <a:solidFill>
                  <a:schemeClr val="tx1"/>
                </a:solidFill>
              </a:defRPr>
            </a:lvl1pPr>
            <a:lvl2pPr marL="8466" indent="0">
              <a:buNone/>
              <a:tabLst/>
              <a:defRPr b="1">
                <a:solidFill>
                  <a:schemeClr val="tx2"/>
                </a:solidFill>
              </a:defRPr>
            </a:lvl2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</a:t>
            </a:r>
            <a:r>
              <a:rPr lang="sv-SE" err="1"/>
              <a:t>quote</a:t>
            </a:r>
            <a:endParaRPr lang="sv-SE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2E6BDF90-8A9E-B940-93A1-B935261D17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91281" y="4929187"/>
            <a:ext cx="4573944" cy="799172"/>
          </a:xfrm>
        </p:spPr>
        <p:txBody>
          <a:bodyPr tIns="18000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8466" indent="0">
              <a:buNone/>
              <a:tabLst/>
              <a:defRPr b="1">
                <a:solidFill>
                  <a:schemeClr val="tx2"/>
                </a:solidFill>
              </a:defRPr>
            </a:lvl2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</a:t>
            </a:r>
            <a:r>
              <a:rPr lang="sv-SE" err="1"/>
              <a:t>name</a:t>
            </a:r>
            <a:r>
              <a:rPr lang="sv-SE"/>
              <a:t> and </a:t>
            </a:r>
            <a:r>
              <a:rPr lang="sv-SE" err="1"/>
              <a:t>title</a:t>
            </a:r>
            <a:endParaRPr lang="sv-SE"/>
          </a:p>
        </p:txBody>
      </p:sp>
      <p:pic>
        <p:nvPicPr>
          <p:cNvPr id="11" name="Grafikk 10">
            <a:extLst>
              <a:ext uri="{FF2B5EF4-FFF2-40B4-BE49-F238E27FC236}">
                <a16:creationId xmlns:a16="http://schemas.microsoft.com/office/drawing/2014/main" id="{00F34B74-6779-439B-8FCD-D8669485F9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6680201" y="821038"/>
            <a:ext cx="668889" cy="463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3380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480000"/>
            <a:ext cx="10820400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402751" y="-79966"/>
            <a:ext cx="1863028" cy="1406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ittel blank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Brukes til </a:t>
            </a:r>
            <a:r>
              <a:rPr lang="nb-NO" sz="1067" baseline="0" noProof="1"/>
              <a:t> grafikk/bilder mm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aseline="0" noProof="1"/>
              <a:t>Vær oppmerksom </a:t>
            </a:r>
            <a:br>
              <a:rPr lang="nb-NO" sz="1067" baseline="0" noProof="1"/>
            </a:br>
            <a:r>
              <a:rPr lang="nb-NO" sz="1067" baseline="0" noProof="1"/>
              <a:t>på lovlige farge-kombinasjoner som vises i palletten over.</a:t>
            </a:r>
            <a:endParaRPr lang="nb-NO" sz="1067" noProof="1"/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6BF41D07-A0CC-4F4D-96F9-EE7B586E6FBC}"/>
              </a:ext>
            </a:extLst>
          </p:cNvPr>
          <p:cNvSpPr txBox="1"/>
          <p:nvPr/>
        </p:nvSpPr>
        <p:spPr>
          <a:xfrm>
            <a:off x="0" y="-381827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itle blank</a:t>
            </a:r>
          </a:p>
        </p:txBody>
      </p:sp>
    </p:spTree>
    <p:extLst>
      <p:ext uri="{BB962C8B-B14F-4D97-AF65-F5344CB8AC3E}">
        <p14:creationId xmlns:p14="http://schemas.microsoft.com/office/powerpoint/2010/main" val="1730106055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87868" y="1356462"/>
            <a:ext cx="11616267" cy="4568089"/>
          </a:xfrm>
          <a:prstGeom prst="rect">
            <a:avLst/>
          </a:prstGeom>
        </p:spPr>
        <p:txBody>
          <a:bodyPr lIns="2520000" tIns="720000" rIns="2520000" bIns="720000">
            <a:normAutofit/>
          </a:bodyPr>
          <a:lstStyle>
            <a:lvl1pPr marL="0" indent="0" algn="ctr">
              <a:buNone/>
              <a:defRPr sz="1333">
                <a:solidFill>
                  <a:schemeClr val="tx2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sz="1333"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 picture by drag &amp; drop or insert picture. Use picture tools to adjust. </a:t>
            </a:r>
            <a:endParaRPr lang="sv-SE" sz="1333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9764" y="5079026"/>
            <a:ext cx="7416800" cy="652463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10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err="1"/>
              <a:t>Insert</a:t>
            </a:r>
            <a:r>
              <a:rPr lang="nb-NO"/>
              <a:t> </a:t>
            </a:r>
            <a:r>
              <a:rPr lang="nb-NO" err="1"/>
              <a:t>caption</a:t>
            </a:r>
            <a:r>
              <a:rPr lang="nb-NO"/>
              <a:t>/</a:t>
            </a:r>
            <a:r>
              <a:rPr lang="nb-NO" err="1"/>
              <a:t>reference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480000"/>
            <a:ext cx="10820400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F0900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,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nb-NO"/>
          </a:p>
        </p:txBody>
      </p:sp>
      <p:sp>
        <p:nvSpPr>
          <p:cNvPr id="10" name="TextBox 9"/>
          <p:cNvSpPr txBox="1"/>
          <p:nvPr/>
        </p:nvSpPr>
        <p:spPr>
          <a:xfrm>
            <a:off x="12425542" y="-94569"/>
            <a:ext cx="1366844" cy="584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Tittel og heldekkende bilde.</a:t>
            </a: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6C135EF7-BEFE-F641-B9CE-854C4939675C}"/>
              </a:ext>
            </a:extLst>
          </p:cNvPr>
          <p:cNvSpPr txBox="1"/>
          <p:nvPr/>
        </p:nvSpPr>
        <p:spPr>
          <a:xfrm>
            <a:off x="0" y="-381827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itle and picture</a:t>
            </a:r>
          </a:p>
        </p:txBody>
      </p:sp>
    </p:spTree>
    <p:extLst>
      <p:ext uri="{BB962C8B-B14F-4D97-AF65-F5344CB8AC3E}">
        <p14:creationId xmlns:p14="http://schemas.microsoft.com/office/powerpoint/2010/main" val="256382998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287866" y="309033"/>
            <a:ext cx="11616268" cy="5615519"/>
          </a:xfrm>
          <a:prstGeom prst="rect">
            <a:avLst/>
          </a:prstGeom>
        </p:spPr>
        <p:txBody>
          <a:bodyPr lIns="2520000" tIns="1080000" rIns="2520000">
            <a:normAutofit/>
          </a:bodyPr>
          <a:lstStyle>
            <a:lvl1pPr marL="0" indent="0" algn="ctr">
              <a:buNone/>
              <a:defRPr sz="1333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sz="1333"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 picture by drag &amp; drop or insert picture. Use picture tools to adjust. </a:t>
            </a:r>
            <a:endParaRPr lang="sv-SE" sz="1333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TextBox 7">
            <a:extLst>
              <a:ext uri="{FF2B5EF4-FFF2-40B4-BE49-F238E27FC236}">
                <a16:creationId xmlns:a16="http://schemas.microsoft.com/office/drawing/2014/main" id="{86A55290-BA34-574B-88BB-9F743262227F}"/>
              </a:ext>
            </a:extLst>
          </p:cNvPr>
          <p:cNvSpPr txBox="1"/>
          <p:nvPr/>
        </p:nvSpPr>
        <p:spPr>
          <a:xfrm>
            <a:off x="0" y="-381827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Picture only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35C3BFC8-465D-4C8C-A929-246EE56040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9764" y="5079026"/>
            <a:ext cx="7416800" cy="652463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10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err="1"/>
              <a:t>Insert</a:t>
            </a:r>
            <a:r>
              <a:rPr lang="nb-NO"/>
              <a:t> </a:t>
            </a:r>
            <a:r>
              <a:rPr lang="nb-NO" err="1"/>
              <a:t>caption</a:t>
            </a:r>
            <a:r>
              <a:rPr lang="nb-NO"/>
              <a:t>/</a:t>
            </a:r>
            <a:r>
              <a:rPr lang="nb-NO" err="1"/>
              <a:t>referen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90994447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BC38899F-3D8D-4985-B48B-19DAEB65F106}"/>
              </a:ext>
            </a:extLst>
          </p:cNvPr>
          <p:cNvSpPr/>
          <p:nvPr/>
        </p:nvSpPr>
        <p:spPr>
          <a:xfrm>
            <a:off x="0" y="-14113"/>
            <a:ext cx="12192000" cy="62124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945735"/>
            <a:ext cx="9144000" cy="457706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lnSpc>
                <a:spcPct val="120000"/>
              </a:lnSpc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ext</a:t>
            </a:r>
            <a:endParaRPr lang="nb-NO" noProof="0"/>
          </a:p>
        </p:txBody>
      </p:sp>
      <p:sp>
        <p:nvSpPr>
          <p:cNvPr id="17" name="TextBox 16"/>
          <p:cNvSpPr txBox="1"/>
          <p:nvPr/>
        </p:nvSpPr>
        <p:spPr>
          <a:xfrm>
            <a:off x="12414147" y="-94569"/>
            <a:ext cx="1430040" cy="2227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Kan brukes som kapittelslide, eller når det er behov for kun én stor tekst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0" noProof="0">
                <a:latin typeface="+mn-lt"/>
              </a:rPr>
              <a:t>Velg ønsket farge og grad av gjennomsiktighet i panelet på høyre side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CEDD10C5-14CC-734B-ACA7-7066DDE299D8}"/>
              </a:ext>
            </a:extLst>
          </p:cNvPr>
          <p:cNvSpPr txBox="1"/>
          <p:nvPr/>
        </p:nvSpPr>
        <p:spPr>
          <a:xfrm>
            <a:off x="0" y="-383629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Large text beige</a:t>
            </a:r>
          </a:p>
        </p:txBody>
      </p:sp>
    </p:spTree>
    <p:extLst>
      <p:ext uri="{BB962C8B-B14F-4D97-AF65-F5344CB8AC3E}">
        <p14:creationId xmlns:p14="http://schemas.microsoft.com/office/powerpoint/2010/main" val="3836913383"/>
      </p:ext>
    </p:extLst>
  </p:cSld>
  <p:clrMapOvr>
    <a:masterClrMapping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and circles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bilde 8">
            <a:extLst>
              <a:ext uri="{FF2B5EF4-FFF2-40B4-BE49-F238E27FC236}">
                <a16:creationId xmlns:a16="http://schemas.microsoft.com/office/drawing/2014/main" id="{2A64645C-DFF2-486F-A191-8B8B2B864F6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92609" y="309034"/>
            <a:ext cx="3666809" cy="5615517"/>
          </a:xfrm>
        </p:spPr>
        <p:txBody>
          <a:bodyPr lIns="180000" tIns="180000" rIns="180000" bIns="180000">
            <a:normAutofit/>
          </a:bodyPr>
          <a:lstStyle>
            <a:lvl1pPr marL="0" indent="0" algn="l">
              <a:buFont typeface="+mj-lt"/>
              <a:buNone/>
              <a:defRPr sz="1333" baseline="0"/>
            </a:lvl1pPr>
          </a:lstStyle>
          <a:p>
            <a:r>
              <a:rPr lang="nb-NO" err="1"/>
              <a:t>Insert</a:t>
            </a:r>
            <a:r>
              <a:rPr lang="nb-NO"/>
              <a:t> or drag and </a:t>
            </a:r>
            <a:r>
              <a:rPr lang="nb-NO" err="1"/>
              <a:t>drop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15" name="Plassholder for bilde 8">
            <a:extLst>
              <a:ext uri="{FF2B5EF4-FFF2-40B4-BE49-F238E27FC236}">
                <a16:creationId xmlns:a16="http://schemas.microsoft.com/office/drawing/2014/main" id="{59621879-604F-446E-BB74-3CB05E0759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263918" y="309034"/>
            <a:ext cx="3666809" cy="5615517"/>
          </a:xfrm>
        </p:spPr>
        <p:txBody>
          <a:bodyPr lIns="180000" tIns="180000" rIns="180000" bIns="180000">
            <a:normAutofit/>
          </a:bodyPr>
          <a:lstStyle>
            <a:lvl1pPr marL="0" indent="0" algn="l">
              <a:buFont typeface="+mj-lt"/>
              <a:buNone/>
              <a:defRPr sz="1333" baseline="0"/>
            </a:lvl1pPr>
          </a:lstStyle>
          <a:p>
            <a:r>
              <a:rPr lang="nb-NO" err="1"/>
              <a:t>Insert</a:t>
            </a:r>
            <a:r>
              <a:rPr lang="nb-NO"/>
              <a:t> or drag and </a:t>
            </a:r>
            <a:r>
              <a:rPr lang="nb-NO" err="1"/>
              <a:t>drop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18" name="Plassholder for bilde 8">
            <a:extLst>
              <a:ext uri="{FF2B5EF4-FFF2-40B4-BE49-F238E27FC236}">
                <a16:creationId xmlns:a16="http://schemas.microsoft.com/office/drawing/2014/main" id="{9F097B6C-AC51-4541-9377-FB743A643B9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6410" y="309034"/>
            <a:ext cx="3666809" cy="5615517"/>
          </a:xfrm>
        </p:spPr>
        <p:txBody>
          <a:bodyPr lIns="180000" tIns="180000" rIns="180000" bIns="180000">
            <a:normAutofit/>
          </a:bodyPr>
          <a:lstStyle>
            <a:lvl1pPr marL="0" indent="0" algn="l">
              <a:buFont typeface="+mj-lt"/>
              <a:buNone/>
              <a:defRPr sz="1333" baseline="0"/>
            </a:lvl1pPr>
          </a:lstStyle>
          <a:p>
            <a:r>
              <a:rPr lang="nb-NO" err="1"/>
              <a:t>Insert</a:t>
            </a:r>
            <a:r>
              <a:rPr lang="nb-NO"/>
              <a:t> or drag and </a:t>
            </a:r>
            <a:r>
              <a:rPr lang="nb-NO" err="1"/>
              <a:t>drop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4DCB47A4-2EBA-204A-8E47-730228792A8E}"/>
              </a:ext>
            </a:extLst>
          </p:cNvPr>
          <p:cNvSpPr txBox="1"/>
          <p:nvPr/>
        </p:nvSpPr>
        <p:spPr>
          <a:xfrm>
            <a:off x="0" y="-383629"/>
            <a:ext cx="355600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Three pictures and circles beige</a:t>
            </a: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1F1B407C-A22F-064F-9840-7CEDE8ED1185}"/>
              </a:ext>
            </a:extLst>
          </p:cNvPr>
          <p:cNvSpPr txBox="1"/>
          <p:nvPr/>
        </p:nvSpPr>
        <p:spPr>
          <a:xfrm>
            <a:off x="12328733" y="0"/>
            <a:ext cx="1862600" cy="23912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/>
              <a:t>D</a:t>
            </a:r>
            <a:r>
              <a:rPr lang="nb-NO" sz="1067" baseline="0" noProof="1"/>
              <a:t>et finnes egne layoutmaler for heldekkende, utfallende bilder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0" noProof="0">
              <a:latin typeface="+mn-lt"/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/>
              <a:t>NB!</a:t>
            </a:r>
            <a:r>
              <a:rPr lang="nb-NO" sz="1067" b="1" baseline="0" noProof="1"/>
              <a:t> </a:t>
            </a:r>
            <a:r>
              <a:rPr lang="nb-NO" sz="1067" noProof="1"/>
              <a:t>Slå</a:t>
            </a:r>
            <a:r>
              <a:rPr lang="nb-NO" sz="1067" baseline="0" noProof="1"/>
              <a:t> gjerne av bullets dersom det ikke er hensiktsmessig med bullets foran hver tekstlinje.</a:t>
            </a:r>
            <a:endParaRPr lang="nb-NO" sz="1067" noProof="1"/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/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5BF8E78C-6A84-46EB-815B-DFF55FDCC084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844555" y="1917600"/>
            <a:ext cx="2640000" cy="26400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ext</a:t>
            </a:r>
            <a:endParaRPr lang="nb-NO"/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ECEB7A8C-A655-47D7-8114-68DEC70EC4FE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4766533" y="1910933"/>
            <a:ext cx="2640000" cy="26400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ext</a:t>
            </a:r>
            <a:endParaRPr lang="nb-NO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6B8CCD4A-5A7F-4199-8471-AE333441B90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707445" y="1910933"/>
            <a:ext cx="2640000" cy="26400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359991" indent="-167996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37587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19649" indent="-167213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956709" indent="-237061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ex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92041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 and  content. Picture wth beige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ssholder for bilde 23"/>
          <p:cNvSpPr>
            <a:spLocks noGrp="1"/>
          </p:cNvSpPr>
          <p:nvPr>
            <p:ph type="pic" sz="quarter" idx="18" hasCustomPrompt="1"/>
          </p:nvPr>
        </p:nvSpPr>
        <p:spPr>
          <a:xfrm>
            <a:off x="8001000" y="309034"/>
            <a:ext cx="3910584" cy="56155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67" baseline="0">
                <a:solidFill>
                  <a:schemeClr val="tx1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or drag and </a:t>
            </a:r>
            <a:r>
              <a:rPr lang="nb-NO" err="1"/>
              <a:t>drop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5429DE71-182E-473F-B6FD-4B37716D11A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871526" y="691474"/>
            <a:ext cx="2234407" cy="2234407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191995" indent="0">
              <a:buNone/>
              <a:defRPr/>
            </a:lvl2pPr>
            <a:lvl3pPr marL="370373" indent="0">
              <a:buNone/>
              <a:defRPr/>
            </a:lvl3pPr>
            <a:lvl4pPr marL="552436" indent="0">
              <a:buNone/>
              <a:defRPr/>
            </a:lvl4pPr>
            <a:lvl5pPr marL="719649" indent="0">
              <a:buNone/>
              <a:defRPr/>
            </a:lvl5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ext</a:t>
            </a:r>
            <a:endParaRPr lang="nb-NO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6EA2944-5508-E64E-A2C4-C13CBDF1C3E2}"/>
              </a:ext>
            </a:extLst>
          </p:cNvPr>
          <p:cNvSpPr txBox="1"/>
          <p:nvPr/>
        </p:nvSpPr>
        <p:spPr>
          <a:xfrm>
            <a:off x="-1" y="-383629"/>
            <a:ext cx="457925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b="1" noProof="1">
                <a:solidFill>
                  <a:schemeClr val="tx1"/>
                </a:solidFill>
              </a:rPr>
              <a:t>Title  and  content. Picture wth beige circles</a:t>
            </a:r>
            <a:endParaRPr lang="nb-NO" sz="1067" b="1" noProof="1">
              <a:solidFill>
                <a:schemeClr val="tx1"/>
              </a:solidFill>
            </a:endParaRP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885F1382-CCEA-F04F-95E9-B8B34C10084E}"/>
              </a:ext>
            </a:extLst>
          </p:cNvPr>
          <p:cNvSpPr txBox="1"/>
          <p:nvPr/>
        </p:nvSpPr>
        <p:spPr>
          <a:xfrm>
            <a:off x="12328733" y="0"/>
            <a:ext cx="1862600" cy="3376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>
                <a:solidFill>
                  <a:schemeClr val="tx1"/>
                </a:solidFill>
              </a:rPr>
              <a:t>Det </a:t>
            </a:r>
            <a:r>
              <a:rPr lang="nb-NO" sz="1067" baseline="0" noProof="1">
                <a:solidFill>
                  <a:schemeClr val="tx1"/>
                </a:solidFill>
              </a:rPr>
              <a:t>finnes egne layoutmaler for heldekkende, utfallende bilder uten tekst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aseline="0" noProof="1">
                <a:solidFill>
                  <a:schemeClr val="tx1"/>
                </a:solidFill>
              </a:rPr>
              <a:t>Bildet må alltid plasseres bakerst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aseline="0" noProof="1">
                <a:solidFill>
                  <a:schemeClr val="tx1"/>
                </a:solidFill>
              </a:rPr>
              <a:t>Tilpass transparens i tekstboksen for god lesbarhet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>
                <a:solidFill>
                  <a:schemeClr val="tx1"/>
                </a:solidFill>
              </a:rPr>
              <a:t>NB!</a:t>
            </a:r>
            <a:r>
              <a:rPr lang="nb-NO" sz="1067" b="1" baseline="0" noProof="1">
                <a:solidFill>
                  <a:schemeClr val="tx1"/>
                </a:solidFill>
              </a:rPr>
              <a:t> </a:t>
            </a:r>
            <a:r>
              <a:rPr lang="nb-NO" sz="1067" noProof="1">
                <a:solidFill>
                  <a:schemeClr val="tx1"/>
                </a:solidFill>
              </a:rPr>
              <a:t>Slå</a:t>
            </a:r>
            <a:r>
              <a:rPr lang="nb-NO" sz="1067" baseline="0" noProof="1">
                <a:solidFill>
                  <a:schemeClr val="tx1"/>
                </a:solidFill>
              </a:rPr>
              <a:t> gjerne av bullets dersom det ikke er hensiktsmessig med bullets foran hver tekstlinje.</a:t>
            </a:r>
            <a:endParaRPr lang="nb-NO" sz="1067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>
              <a:solidFill>
                <a:schemeClr val="tx1"/>
              </a:solidFill>
            </a:endParaRPr>
          </a:p>
        </p:txBody>
      </p:sp>
      <p:sp>
        <p:nvSpPr>
          <p:cNvPr id="22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2001" y="1617134"/>
            <a:ext cx="6311900" cy="4307417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err="1"/>
              <a:t>Text</a:t>
            </a:r>
            <a:r>
              <a:rPr lang="nb-NO" noProof="0"/>
              <a:t> first </a:t>
            </a:r>
            <a:r>
              <a:rPr lang="nb-NO" noProof="0" err="1"/>
              <a:t>level</a:t>
            </a:r>
            <a:r>
              <a:rPr lang="nb-NO" noProof="0"/>
              <a:t>, </a:t>
            </a:r>
            <a:r>
              <a:rPr lang="nb-NO" noProof="0" err="1"/>
              <a:t>use</a:t>
            </a:r>
            <a:r>
              <a:rPr lang="nb-NO" noProof="0"/>
              <a:t> </a:t>
            </a:r>
            <a:r>
              <a:rPr lang="nb-NO" noProof="0" err="1"/>
              <a:t>indent</a:t>
            </a:r>
            <a:r>
              <a:rPr lang="nb-NO" noProof="0"/>
              <a:t> for sub </a:t>
            </a:r>
            <a:r>
              <a:rPr lang="nb-NO" noProof="0" err="1"/>
              <a:t>levels</a:t>
            </a:r>
            <a:endParaRPr lang="nb-NO" noProof="0"/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762001" y="479532"/>
            <a:ext cx="6311900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F0900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en-US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F5E058EE-BE49-4259-BB65-F86F8EE2E2DB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8871526" y="3273539"/>
            <a:ext cx="2264821" cy="2264821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191995" indent="0">
              <a:buNone/>
              <a:defRPr/>
            </a:lvl2pPr>
            <a:lvl3pPr marL="370373" indent="0">
              <a:buNone/>
              <a:defRPr/>
            </a:lvl3pPr>
            <a:lvl4pPr marL="552436" indent="0">
              <a:buNone/>
              <a:defRPr/>
            </a:lvl4pPr>
            <a:lvl5pPr marL="719649" indent="0">
              <a:buNone/>
              <a:defRPr/>
            </a:lvl5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ex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62760092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787AA-2EEE-435C-AEC7-0AFDFAEA6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3C17E3-026F-43B9-A317-DDBB98287D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D3B4CB-9710-4598-ADEC-B67B04C1F0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323E9E-3DD8-46A6-8587-9A878FE2A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B6945-601D-4F5F-B8EB-5326725AD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889733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 and  content. Picture wth green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7">
            <a:extLst>
              <a:ext uri="{FF2B5EF4-FFF2-40B4-BE49-F238E27FC236}">
                <a16:creationId xmlns:a16="http://schemas.microsoft.com/office/drawing/2014/main" id="{66EA2944-5508-E64E-A2C4-C13CBDF1C3E2}"/>
              </a:ext>
            </a:extLst>
          </p:cNvPr>
          <p:cNvSpPr txBox="1"/>
          <p:nvPr/>
        </p:nvSpPr>
        <p:spPr>
          <a:xfrm>
            <a:off x="0" y="-383629"/>
            <a:ext cx="579120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b="1" noProof="1">
                <a:solidFill>
                  <a:schemeClr val="tx1"/>
                </a:solidFill>
              </a:rPr>
              <a:t>Title  and  content. Picture wth green circles</a:t>
            </a:r>
            <a:endParaRPr lang="nb-NO" sz="1067" b="1" noProof="1">
              <a:solidFill>
                <a:schemeClr val="tx1"/>
              </a:solidFill>
            </a:endParaRP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885F1382-CCEA-F04F-95E9-B8B34C10084E}"/>
              </a:ext>
            </a:extLst>
          </p:cNvPr>
          <p:cNvSpPr txBox="1"/>
          <p:nvPr/>
        </p:nvSpPr>
        <p:spPr>
          <a:xfrm>
            <a:off x="12328733" y="0"/>
            <a:ext cx="1862600" cy="3376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>
                <a:solidFill>
                  <a:schemeClr val="tx1"/>
                </a:solidFill>
              </a:rPr>
              <a:t>Det </a:t>
            </a:r>
            <a:r>
              <a:rPr lang="nb-NO" sz="1067" baseline="0" noProof="1">
                <a:solidFill>
                  <a:schemeClr val="tx1"/>
                </a:solidFill>
              </a:rPr>
              <a:t>finnes egne layoutmaler for heldekkende, utfallende bilder uten tekst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aseline="0" noProof="1">
                <a:solidFill>
                  <a:schemeClr val="tx1"/>
                </a:solidFill>
              </a:rPr>
              <a:t>Bildet må alltid plasseres bakerst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aseline="0" noProof="1">
                <a:solidFill>
                  <a:schemeClr val="tx1"/>
                </a:solidFill>
              </a:rPr>
              <a:t>Tilpass transparens i tekstboksen for god lesbarhet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>
                <a:solidFill>
                  <a:schemeClr val="tx1"/>
                </a:solidFill>
              </a:rPr>
              <a:t>NB!</a:t>
            </a:r>
            <a:r>
              <a:rPr lang="nb-NO" sz="1067" b="1" baseline="0" noProof="1">
                <a:solidFill>
                  <a:schemeClr val="tx1"/>
                </a:solidFill>
              </a:rPr>
              <a:t> </a:t>
            </a:r>
            <a:r>
              <a:rPr lang="nb-NO" sz="1067" noProof="1">
                <a:solidFill>
                  <a:schemeClr val="tx1"/>
                </a:solidFill>
              </a:rPr>
              <a:t>Slå</a:t>
            </a:r>
            <a:r>
              <a:rPr lang="nb-NO" sz="1067" baseline="0" noProof="1">
                <a:solidFill>
                  <a:schemeClr val="tx1"/>
                </a:solidFill>
              </a:rPr>
              <a:t> gjerne av bullets dersom det ikke er hensiktsmessig med bullets foran hver tekstlinje.</a:t>
            </a:r>
            <a:endParaRPr lang="nb-NO" sz="1067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>
              <a:solidFill>
                <a:schemeClr val="tx1"/>
              </a:solidFill>
            </a:endParaRPr>
          </a:p>
        </p:txBody>
      </p:sp>
      <p:sp>
        <p:nvSpPr>
          <p:cNvPr id="22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2001" y="1617134"/>
            <a:ext cx="6311900" cy="4307417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err="1"/>
              <a:t>Text</a:t>
            </a:r>
            <a:r>
              <a:rPr lang="nb-NO" noProof="0"/>
              <a:t> first </a:t>
            </a:r>
            <a:r>
              <a:rPr lang="nb-NO" noProof="0" err="1"/>
              <a:t>level</a:t>
            </a:r>
            <a:r>
              <a:rPr lang="nb-NO" noProof="0"/>
              <a:t>, </a:t>
            </a:r>
            <a:r>
              <a:rPr lang="nb-NO" noProof="0" err="1"/>
              <a:t>use</a:t>
            </a:r>
            <a:r>
              <a:rPr lang="nb-NO" noProof="0"/>
              <a:t> </a:t>
            </a:r>
            <a:r>
              <a:rPr lang="nb-NO" noProof="0" err="1"/>
              <a:t>indent</a:t>
            </a:r>
            <a:r>
              <a:rPr lang="nb-NO" noProof="0"/>
              <a:t> for sub </a:t>
            </a:r>
            <a:r>
              <a:rPr lang="nb-NO" noProof="0" err="1"/>
              <a:t>levels</a:t>
            </a:r>
            <a:endParaRPr lang="nb-NO" noProof="0"/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762001" y="479532"/>
            <a:ext cx="6311900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F0900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en-US"/>
          </a:p>
        </p:txBody>
      </p:sp>
      <p:sp>
        <p:nvSpPr>
          <p:cNvPr id="9" name="Plassholder for bilde 23">
            <a:extLst>
              <a:ext uri="{FF2B5EF4-FFF2-40B4-BE49-F238E27FC236}">
                <a16:creationId xmlns:a16="http://schemas.microsoft.com/office/drawing/2014/main" id="{0DEEA316-9F54-46D1-B4FA-DB8FF4587FB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01000" y="309034"/>
            <a:ext cx="3910584" cy="56155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67" baseline="0">
                <a:solidFill>
                  <a:schemeClr val="tx1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or drag and </a:t>
            </a:r>
            <a:r>
              <a:rPr lang="nb-NO" err="1"/>
              <a:t>drop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B98D4E42-2B0B-4446-BFB0-199A556937F6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871526" y="691474"/>
            <a:ext cx="2234407" cy="2234407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191995" indent="0">
              <a:buNone/>
              <a:defRPr/>
            </a:lvl2pPr>
            <a:lvl3pPr marL="370373" indent="0">
              <a:buNone/>
              <a:defRPr/>
            </a:lvl3pPr>
            <a:lvl4pPr marL="552436" indent="0">
              <a:buNone/>
              <a:defRPr/>
            </a:lvl4pPr>
            <a:lvl5pPr marL="719649" indent="0">
              <a:buNone/>
              <a:defRPr/>
            </a:lvl5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ext</a:t>
            </a:r>
            <a:endParaRPr lang="nb-NO"/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43F4BDDB-6D57-4FE0-B3F8-C4EF92D6802F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8871526" y="3273539"/>
            <a:ext cx="2264821" cy="2264821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191995" indent="0">
              <a:buNone/>
              <a:defRPr/>
            </a:lvl2pPr>
            <a:lvl3pPr marL="370373" indent="0">
              <a:buNone/>
              <a:defRPr/>
            </a:lvl3pPr>
            <a:lvl4pPr marL="552436" indent="0">
              <a:buNone/>
              <a:defRPr/>
            </a:lvl4pPr>
            <a:lvl5pPr marL="719649" indent="0">
              <a:buNone/>
              <a:defRPr/>
            </a:lvl5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ex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28416302"/>
      </p:ext>
    </p:extLst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 and  content. Picture wth red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23">
            <a:extLst>
              <a:ext uri="{FF2B5EF4-FFF2-40B4-BE49-F238E27FC236}">
                <a16:creationId xmlns:a16="http://schemas.microsoft.com/office/drawing/2014/main" id="{05627308-AD13-4588-8E65-B561589F135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01000" y="309034"/>
            <a:ext cx="3910584" cy="56155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67" baseline="0">
                <a:solidFill>
                  <a:schemeClr val="tx1"/>
                </a:solidFill>
              </a:defRPr>
            </a:lvl1pPr>
          </a:lstStyle>
          <a:p>
            <a:r>
              <a:rPr lang="nb-NO" err="1"/>
              <a:t>Click</a:t>
            </a:r>
            <a:r>
              <a:rPr lang="nb-NO"/>
              <a:t> </a:t>
            </a:r>
            <a:r>
              <a:rPr lang="nb-NO" err="1"/>
              <a:t>icon</a:t>
            </a:r>
            <a:r>
              <a:rPr lang="nb-NO"/>
              <a:t> or drag and </a:t>
            </a:r>
            <a:r>
              <a:rPr lang="nb-NO" err="1"/>
              <a:t>drop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6EA2944-5508-E64E-A2C4-C13CBDF1C3E2}"/>
              </a:ext>
            </a:extLst>
          </p:cNvPr>
          <p:cNvSpPr txBox="1"/>
          <p:nvPr/>
        </p:nvSpPr>
        <p:spPr>
          <a:xfrm>
            <a:off x="0" y="-383629"/>
            <a:ext cx="381000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b="1" noProof="1">
                <a:solidFill>
                  <a:schemeClr val="tx1"/>
                </a:solidFill>
              </a:rPr>
              <a:t>Title  and  content. Picture wth red circle</a:t>
            </a:r>
            <a:endParaRPr lang="nb-NO" sz="1067" b="1" noProof="1">
              <a:solidFill>
                <a:schemeClr val="tx1"/>
              </a:solidFill>
            </a:endParaRP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885F1382-CCEA-F04F-95E9-B8B34C10084E}"/>
              </a:ext>
            </a:extLst>
          </p:cNvPr>
          <p:cNvSpPr txBox="1"/>
          <p:nvPr/>
        </p:nvSpPr>
        <p:spPr>
          <a:xfrm>
            <a:off x="12328733" y="0"/>
            <a:ext cx="1862600" cy="3376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noProof="1">
                <a:solidFill>
                  <a:schemeClr val="tx1"/>
                </a:solidFill>
              </a:rPr>
              <a:t>Det </a:t>
            </a:r>
            <a:r>
              <a:rPr lang="nb-NO" sz="1067" baseline="0" noProof="1">
                <a:solidFill>
                  <a:schemeClr val="tx1"/>
                </a:solidFill>
              </a:rPr>
              <a:t>finnes egne layoutmaler for heldekkende, utfallende bilder uten tekst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aseline="0" noProof="1">
                <a:solidFill>
                  <a:schemeClr val="tx1"/>
                </a:solidFill>
              </a:rPr>
              <a:t>Bildet må alltid plasseres bakerst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aseline="0" noProof="1">
                <a:solidFill>
                  <a:schemeClr val="tx1"/>
                </a:solidFill>
              </a:rPr>
              <a:t>Tilpass transparens i tekstboksen for god lesbarhet.</a:t>
            </a: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aseline="0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noProof="1">
                <a:solidFill>
                  <a:schemeClr val="tx1"/>
                </a:solidFill>
              </a:rPr>
              <a:t>NB!</a:t>
            </a:r>
            <a:r>
              <a:rPr lang="nb-NO" sz="1067" b="1" baseline="0" noProof="1">
                <a:solidFill>
                  <a:schemeClr val="tx1"/>
                </a:solidFill>
              </a:rPr>
              <a:t> </a:t>
            </a:r>
            <a:r>
              <a:rPr lang="nb-NO" sz="1067" noProof="1">
                <a:solidFill>
                  <a:schemeClr val="tx1"/>
                </a:solidFill>
              </a:rPr>
              <a:t>Slå</a:t>
            </a:r>
            <a:r>
              <a:rPr lang="nb-NO" sz="1067" baseline="0" noProof="1">
                <a:solidFill>
                  <a:schemeClr val="tx1"/>
                </a:solidFill>
              </a:rPr>
              <a:t> gjerne av bullets dersom det ikke er hensiktsmessig med bullets foran hver tekstlinje.</a:t>
            </a:r>
            <a:endParaRPr lang="nb-NO" sz="1067" noProof="1">
              <a:solidFill>
                <a:schemeClr val="tx1"/>
              </a:solidFill>
            </a:endParaRPr>
          </a:p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noProof="1">
              <a:solidFill>
                <a:schemeClr val="tx1"/>
              </a:solidFill>
            </a:endParaRPr>
          </a:p>
        </p:txBody>
      </p:sp>
      <p:sp>
        <p:nvSpPr>
          <p:cNvPr id="22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2001" y="1617133"/>
            <a:ext cx="6311900" cy="433478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err="1"/>
              <a:t>Text</a:t>
            </a:r>
            <a:r>
              <a:rPr lang="nb-NO" noProof="0"/>
              <a:t> first </a:t>
            </a:r>
            <a:r>
              <a:rPr lang="nb-NO" noProof="0" err="1"/>
              <a:t>level</a:t>
            </a:r>
            <a:r>
              <a:rPr lang="nb-NO" noProof="0"/>
              <a:t>, </a:t>
            </a:r>
            <a:r>
              <a:rPr lang="nb-NO" noProof="0" err="1"/>
              <a:t>use</a:t>
            </a:r>
            <a:r>
              <a:rPr lang="nb-NO" noProof="0"/>
              <a:t> </a:t>
            </a:r>
            <a:r>
              <a:rPr lang="nb-NO" noProof="0" err="1"/>
              <a:t>indent</a:t>
            </a:r>
            <a:r>
              <a:rPr lang="nb-NO" noProof="0"/>
              <a:t> for sub </a:t>
            </a:r>
            <a:r>
              <a:rPr lang="nb-NO" noProof="0" err="1"/>
              <a:t>levels</a:t>
            </a:r>
            <a:endParaRPr lang="nb-NO" noProof="0"/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762001" y="479532"/>
            <a:ext cx="6311900" cy="808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F0900"/>
                </a:solidFill>
              </a:defRPr>
            </a:lvl1pPr>
          </a:lstStyle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 </a:t>
            </a:r>
            <a:r>
              <a:rPr lang="nb-NO" noProof="0" err="1"/>
              <a:t>max</a:t>
            </a:r>
            <a:r>
              <a:rPr lang="nb-NO" noProof="0"/>
              <a:t> 2 lines</a:t>
            </a:r>
            <a:endParaRPr lang="en-US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85511C0A-B26D-4782-A482-725423F40066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636292" y="1796792"/>
            <a:ext cx="2640000" cy="2640000"/>
          </a:xfrm>
          <a:prstGeom prst="ellipse">
            <a:avLst/>
          </a:prstGeo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191995" indent="0">
              <a:buNone/>
              <a:defRPr/>
            </a:lvl2pPr>
            <a:lvl3pPr marL="370373" indent="0">
              <a:buNone/>
              <a:defRPr/>
            </a:lvl3pPr>
            <a:lvl4pPr marL="552436" indent="0">
              <a:buNone/>
              <a:defRPr/>
            </a:lvl4pPr>
            <a:lvl5pPr marL="719649" indent="0">
              <a:buNone/>
              <a:defRPr/>
            </a:lvl5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ex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50880754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ing Content bottom pictur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E9D7CBBC-66CC-C041-A07C-EB28B53B2F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87868" y="309034"/>
            <a:ext cx="11616265" cy="2918881"/>
          </a:xfrm>
          <a:solidFill>
            <a:schemeClr val="accent1"/>
          </a:solidFill>
        </p:spPr>
        <p:txBody>
          <a:bodyPr lIns="540000" tIns="360000" rIns="180000" bIns="360000" anchor="t" anchorCtr="0">
            <a:normAutofit/>
          </a:bodyPr>
          <a:lstStyle>
            <a:lvl1pPr marL="0" indent="0" algn="l">
              <a:buFont typeface="+mj-lt"/>
              <a:buNone/>
              <a:defRPr sz="1333"/>
            </a:lvl1pPr>
          </a:lstStyle>
          <a:p>
            <a:r>
              <a:rPr lang="nb-NO" err="1"/>
              <a:t>Insert</a:t>
            </a:r>
            <a:r>
              <a:rPr lang="nb-NO"/>
              <a:t> or drag and </a:t>
            </a:r>
            <a:r>
              <a:rPr lang="nb-NO" err="1"/>
              <a:t>drop</a:t>
            </a:r>
            <a:r>
              <a:rPr lang="nb-NO"/>
              <a:t> </a:t>
            </a:r>
            <a:r>
              <a:rPr lang="nb-NO" err="1"/>
              <a:t>picture</a:t>
            </a:r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B5BDACB-17B3-D546-AB1B-3202000D4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3204013"/>
            <a:ext cx="12192000" cy="2995305"/>
          </a:xfrm>
          <a:solidFill>
            <a:schemeClr val="bg1">
              <a:alpha val="70000"/>
            </a:schemeClr>
          </a:solidFill>
        </p:spPr>
        <p:txBody>
          <a:bodyPr vert="horz" lIns="540000" tIns="360000" rIns="180000" bIns="360000" rtlCol="0" anchor="ctr" anchorCtr="0">
            <a:normAutofit/>
          </a:bodyPr>
          <a:lstStyle>
            <a:lvl1pPr>
              <a:defRPr lang="en-GB" sz="2667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text</a:t>
            </a:r>
            <a:endParaRPr lang="en-GB"/>
          </a:p>
        </p:txBody>
      </p:sp>
      <p:sp>
        <p:nvSpPr>
          <p:cNvPr id="7" name="TextBox 7">
            <a:extLst>
              <a:ext uri="{FF2B5EF4-FFF2-40B4-BE49-F238E27FC236}">
                <a16:creationId xmlns:a16="http://schemas.microsoft.com/office/drawing/2014/main" id="{75CA6841-6EC4-9841-80AD-32DCCADC08C7}"/>
              </a:ext>
            </a:extLst>
          </p:cNvPr>
          <p:cNvSpPr txBox="1"/>
          <p:nvPr/>
        </p:nvSpPr>
        <p:spPr>
          <a:xfrm>
            <a:off x="0" y="-383629"/>
            <a:ext cx="492760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Subheading Content bottom picture top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DCF192-B6A4-1C4E-89FA-46B1C0FCCA30}"/>
              </a:ext>
            </a:extLst>
          </p:cNvPr>
          <p:cNvSpPr txBox="1"/>
          <p:nvPr/>
        </p:nvSpPr>
        <p:spPr>
          <a:xfrm>
            <a:off x="12328733" y="0"/>
            <a:ext cx="1862600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aseline="0" noProof="1"/>
              <a:t>Påse at utsnittet av bildet fungerer</a:t>
            </a:r>
          </a:p>
        </p:txBody>
      </p:sp>
    </p:spTree>
    <p:extLst>
      <p:ext uri="{BB962C8B-B14F-4D97-AF65-F5344CB8AC3E}">
        <p14:creationId xmlns:p14="http://schemas.microsoft.com/office/powerpoint/2010/main" val="95449196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ing text only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B5BDACB-17B3-D546-AB1B-3202000D4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3240000"/>
          </a:xfrm>
          <a:prstGeom prst="rect">
            <a:avLst/>
          </a:prstGeom>
          <a:solidFill>
            <a:schemeClr val="bg1"/>
          </a:solidFill>
        </p:spPr>
        <p:txBody>
          <a:bodyPr vert="horz" lIns="540000" tIns="360000" rIns="180000" bIns="360000" rtlCol="0" anchor="ctr" anchorCtr="0">
            <a:normAutofit/>
          </a:bodyPr>
          <a:lstStyle>
            <a:lvl1pPr>
              <a:defRPr lang="en-GB"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text</a:t>
            </a:r>
            <a:endParaRPr lang="en-GB"/>
          </a:p>
        </p:txBody>
      </p:sp>
      <p:sp>
        <p:nvSpPr>
          <p:cNvPr id="7" name="TextBox 7">
            <a:extLst>
              <a:ext uri="{FF2B5EF4-FFF2-40B4-BE49-F238E27FC236}">
                <a16:creationId xmlns:a16="http://schemas.microsoft.com/office/drawing/2014/main" id="{23470A32-4A28-E44F-8BF3-3A5FB9EABD0C}"/>
              </a:ext>
            </a:extLst>
          </p:cNvPr>
          <p:cNvSpPr txBox="1"/>
          <p:nvPr/>
        </p:nvSpPr>
        <p:spPr>
          <a:xfrm>
            <a:off x="0" y="-383629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Subheading text only green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470400"/>
            <a:ext cx="762000" cy="384000"/>
          </a:xfrm>
          <a:prstGeom prst="rect">
            <a:avLst/>
          </a:prstGeom>
        </p:spPr>
        <p:txBody>
          <a:bodyPr/>
          <a:lstStyle>
            <a:lvl1pPr algn="ctr">
              <a:defRPr sz="1467">
                <a:solidFill>
                  <a:schemeClr val="bg1"/>
                </a:solidFill>
              </a:defRPr>
            </a:lvl1pPr>
          </a:lstStyle>
          <a:p>
            <a:fld id="{09232CC8-3A3C-4CC7-B6ED-94A369B1EF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2896BDF8-4822-497B-8B13-504AD8837282}"/>
              </a:ext>
            </a:extLst>
          </p:cNvPr>
          <p:cNvSpPr/>
          <p:nvPr/>
        </p:nvSpPr>
        <p:spPr>
          <a:xfrm>
            <a:off x="0" y="3217816"/>
            <a:ext cx="12192000" cy="2982392"/>
          </a:xfrm>
          <a:prstGeom prst="rect">
            <a:avLst/>
          </a:prstGeom>
          <a:solidFill>
            <a:srgbClr val="E8F3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1037593212"/>
      </p:ext>
    </p:extLst>
  </p:cSld>
  <p:clrMapOvr>
    <a:masterClrMapping/>
  </p:clrMapOvr>
  <p:transition>
    <p:fade/>
  </p:transition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ing text only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B5BDACB-17B3-D546-AB1B-3202000D4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3240000"/>
          </a:xfrm>
          <a:prstGeom prst="rect">
            <a:avLst/>
          </a:prstGeom>
          <a:solidFill>
            <a:schemeClr val="bg1"/>
          </a:solidFill>
        </p:spPr>
        <p:txBody>
          <a:bodyPr vert="horz" lIns="540000" tIns="360000" rIns="180000" bIns="360000" rtlCol="0" anchor="ctr" anchorCtr="0">
            <a:normAutofit/>
          </a:bodyPr>
          <a:lstStyle>
            <a:lvl1pPr>
              <a:defRPr lang="en-GB"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text</a:t>
            </a:r>
            <a:endParaRPr lang="en-GB"/>
          </a:p>
        </p:txBody>
      </p:sp>
      <p:sp>
        <p:nvSpPr>
          <p:cNvPr id="7" name="TextBox 7">
            <a:extLst>
              <a:ext uri="{FF2B5EF4-FFF2-40B4-BE49-F238E27FC236}">
                <a16:creationId xmlns:a16="http://schemas.microsoft.com/office/drawing/2014/main" id="{23470A32-4A28-E44F-8BF3-3A5FB9EABD0C}"/>
              </a:ext>
            </a:extLst>
          </p:cNvPr>
          <p:cNvSpPr txBox="1"/>
          <p:nvPr/>
        </p:nvSpPr>
        <p:spPr>
          <a:xfrm>
            <a:off x="0" y="-383629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Subheading text only red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470400"/>
            <a:ext cx="762000" cy="384000"/>
          </a:xfrm>
          <a:prstGeom prst="rect">
            <a:avLst/>
          </a:prstGeom>
        </p:spPr>
        <p:txBody>
          <a:bodyPr/>
          <a:lstStyle>
            <a:lvl1pPr algn="ctr">
              <a:defRPr sz="1467">
                <a:solidFill>
                  <a:schemeClr val="bg1"/>
                </a:solidFill>
              </a:defRPr>
            </a:lvl1pPr>
          </a:lstStyle>
          <a:p>
            <a:fld id="{09232CC8-3A3C-4CC7-B6ED-94A369B1EF0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2896BDF8-4822-497B-8B13-504AD8837282}"/>
              </a:ext>
            </a:extLst>
          </p:cNvPr>
          <p:cNvSpPr/>
          <p:nvPr/>
        </p:nvSpPr>
        <p:spPr>
          <a:xfrm>
            <a:off x="0" y="3238732"/>
            <a:ext cx="12192000" cy="2982392"/>
          </a:xfrm>
          <a:prstGeom prst="rect">
            <a:avLst/>
          </a:prstGeom>
          <a:solidFill>
            <a:srgbClr val="BF09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1470541362"/>
      </p:ext>
    </p:extLst>
  </p:cSld>
  <p:clrMapOvr>
    <a:masterClrMapping/>
  </p:clrMapOvr>
  <p:transition>
    <p:fade/>
  </p:transition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ing #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B5BDACB-17B3-D546-AB1B-3202000D4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90234" y="-18303"/>
            <a:ext cx="9901767" cy="6218768"/>
          </a:xfrm>
          <a:prstGeom prst="rect">
            <a:avLst/>
          </a:prstGeom>
          <a:solidFill>
            <a:srgbClr val="E8F3E1"/>
          </a:solidFill>
        </p:spPr>
        <p:txBody>
          <a:bodyPr vert="horz" lIns="1152000" tIns="360000" rIns="2160000" bIns="360000" rtlCol="0" anchor="ctr" anchorCtr="0">
            <a:normAutofit/>
          </a:bodyPr>
          <a:lstStyle>
            <a:lvl1pPr>
              <a:defRPr lang="en-GB"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text</a:t>
            </a:r>
            <a:endParaRPr lang="en-GB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4955FCFE-EAEC-4B81-9113-27F7BE7762BF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1190388" y="2011767"/>
            <a:ext cx="2199688" cy="2199688"/>
          </a:xfrm>
          <a:prstGeom prst="ellipse">
            <a:avLst/>
          </a:prstGeom>
          <a:solidFill>
            <a:srgbClr val="C6E7C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7200">
                <a:solidFill>
                  <a:schemeClr val="tx1"/>
                </a:solidFill>
              </a:defRPr>
            </a:lvl1pPr>
            <a:lvl2pPr marL="191995" indent="0">
              <a:buNone/>
              <a:defRPr/>
            </a:lvl2pPr>
            <a:lvl3pPr marL="370373" indent="0">
              <a:buNone/>
              <a:defRPr/>
            </a:lvl3pPr>
            <a:lvl4pPr marL="552436" indent="0">
              <a:buNone/>
              <a:defRPr/>
            </a:lvl4pPr>
            <a:lvl5pPr marL="719649" indent="0">
              <a:buNone/>
              <a:defRPr/>
            </a:lvl5pPr>
          </a:lstStyle>
          <a:p>
            <a:r>
              <a:rPr lang="en-GB"/>
              <a:t>#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13469861-FD48-0348-8AD0-80DA0115921F}"/>
              </a:ext>
            </a:extLst>
          </p:cNvPr>
          <p:cNvSpPr txBox="1"/>
          <p:nvPr/>
        </p:nvSpPr>
        <p:spPr>
          <a:xfrm>
            <a:off x="0" y="-383629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Subheading # green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470400"/>
            <a:ext cx="762000" cy="384000"/>
          </a:xfrm>
          <a:prstGeom prst="rect">
            <a:avLst/>
          </a:prstGeom>
        </p:spPr>
        <p:txBody>
          <a:bodyPr/>
          <a:lstStyle>
            <a:lvl1pPr algn="ctr">
              <a:defRPr sz="1467">
                <a:solidFill>
                  <a:schemeClr val="bg1"/>
                </a:solidFill>
              </a:defRPr>
            </a:lvl1pPr>
          </a:lstStyle>
          <a:p>
            <a:fld id="{09232CC8-3A3C-4CC7-B6ED-94A369B1EF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213101"/>
      </p:ext>
    </p:extLst>
  </p:cSld>
  <p:clrMapOvr>
    <a:masterClrMapping/>
  </p:clrMapOvr>
  <p:transition>
    <p:fade/>
  </p:transition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ing #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B5BDACB-17B3-D546-AB1B-3202000D4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90232" y="-21167"/>
            <a:ext cx="9901767" cy="6223221"/>
          </a:xfrm>
          <a:prstGeom prst="rect">
            <a:avLst/>
          </a:prstGeom>
          <a:solidFill>
            <a:schemeClr val="accent1"/>
          </a:solidFill>
        </p:spPr>
        <p:txBody>
          <a:bodyPr vert="horz" lIns="1152000" tIns="360000" rIns="2160000" bIns="360000" rtlCol="0" anchor="ctr" anchorCtr="0">
            <a:normAutofit/>
          </a:bodyPr>
          <a:lstStyle>
            <a:lvl1pPr>
              <a:defRPr lang="en-GB"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text</a:t>
            </a:r>
            <a:endParaRPr lang="en-GB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4955FCFE-EAEC-4B81-9113-27F7BE7762BF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1190388" y="2011767"/>
            <a:ext cx="2199688" cy="2199688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7200">
                <a:solidFill>
                  <a:schemeClr val="tx1"/>
                </a:solidFill>
              </a:defRPr>
            </a:lvl1pPr>
            <a:lvl2pPr marL="191995" indent="0">
              <a:buNone/>
              <a:defRPr/>
            </a:lvl2pPr>
            <a:lvl3pPr marL="370373" indent="0">
              <a:buNone/>
              <a:defRPr/>
            </a:lvl3pPr>
            <a:lvl4pPr marL="552436" indent="0">
              <a:buNone/>
              <a:defRPr/>
            </a:lvl4pPr>
            <a:lvl5pPr marL="719649" indent="0">
              <a:buNone/>
              <a:defRPr/>
            </a:lvl5pPr>
          </a:lstStyle>
          <a:p>
            <a:r>
              <a:rPr lang="en-GB"/>
              <a:t>#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13469861-FD48-0348-8AD0-80DA0115921F}"/>
              </a:ext>
            </a:extLst>
          </p:cNvPr>
          <p:cNvSpPr txBox="1"/>
          <p:nvPr/>
        </p:nvSpPr>
        <p:spPr>
          <a:xfrm>
            <a:off x="0" y="-383629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Subheading # beig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470400"/>
            <a:ext cx="762000" cy="384000"/>
          </a:xfrm>
          <a:prstGeom prst="rect">
            <a:avLst/>
          </a:prstGeom>
        </p:spPr>
        <p:txBody>
          <a:bodyPr/>
          <a:lstStyle>
            <a:lvl1pPr algn="ctr">
              <a:defRPr sz="1467">
                <a:solidFill>
                  <a:schemeClr val="bg1"/>
                </a:solidFill>
              </a:defRPr>
            </a:lvl1pPr>
          </a:lstStyle>
          <a:p>
            <a:fld id="{09232CC8-3A3C-4CC7-B6ED-94A369B1EF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842580"/>
      </p:ext>
    </p:extLst>
  </p:cSld>
  <p:clrMapOvr>
    <a:masterClrMapping/>
  </p:clrMapOvr>
  <p:transition>
    <p:fade/>
  </p:transition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ing tex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3E0E0670-59C9-421C-A0D2-97E07510D0E3}"/>
              </a:ext>
            </a:extLst>
          </p:cNvPr>
          <p:cNvSpPr/>
          <p:nvPr userDrawn="1"/>
        </p:nvSpPr>
        <p:spPr>
          <a:xfrm>
            <a:off x="1" y="5888992"/>
            <a:ext cx="4251960" cy="30860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 dirty="0">
              <a:solidFill>
                <a:schemeClr val="tx1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6FB6ACB-B994-4CFE-A68F-9CE7C8697276}"/>
              </a:ext>
            </a:extLst>
          </p:cNvPr>
          <p:cNvSpPr/>
          <p:nvPr/>
        </p:nvSpPr>
        <p:spPr>
          <a:xfrm>
            <a:off x="3360752" y="-12701"/>
            <a:ext cx="8831249" cy="621623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8" name="Grafikk 6">
            <a:extLst>
              <a:ext uri="{FF2B5EF4-FFF2-40B4-BE49-F238E27FC236}">
                <a16:creationId xmlns:a16="http://schemas.microsoft.com/office/drawing/2014/main" id="{8654777A-0474-47A2-B1EE-BE3F64B0F795}"/>
              </a:ext>
            </a:extLst>
          </p:cNvPr>
          <p:cNvSpPr/>
          <p:nvPr/>
        </p:nvSpPr>
        <p:spPr>
          <a:xfrm>
            <a:off x="0" y="-24119"/>
            <a:ext cx="7251056" cy="6225117"/>
          </a:xfrm>
          <a:custGeom>
            <a:avLst/>
            <a:gdLst>
              <a:gd name="connsiteX0" fmla="*/ 2555081 w 4795837"/>
              <a:gd name="connsiteY0" fmla="*/ 0 h 4481512"/>
              <a:gd name="connsiteX1" fmla="*/ 2552700 w 4795837"/>
              <a:gd name="connsiteY1" fmla="*/ 0 h 4481512"/>
              <a:gd name="connsiteX2" fmla="*/ 2552700 w 4795837"/>
              <a:gd name="connsiteY2" fmla="*/ 0 h 4481512"/>
              <a:gd name="connsiteX3" fmla="*/ 0 w 4795837"/>
              <a:gd name="connsiteY3" fmla="*/ 0 h 4481512"/>
              <a:gd name="connsiteX4" fmla="*/ 0 w 4795837"/>
              <a:gd name="connsiteY4" fmla="*/ 4481513 h 4481512"/>
              <a:gd name="connsiteX5" fmla="*/ 2552700 w 4795837"/>
              <a:gd name="connsiteY5" fmla="*/ 4481513 h 4481512"/>
              <a:gd name="connsiteX6" fmla="*/ 2552700 w 4795837"/>
              <a:gd name="connsiteY6" fmla="*/ 4481513 h 4481512"/>
              <a:gd name="connsiteX7" fmla="*/ 2555081 w 4795837"/>
              <a:gd name="connsiteY7" fmla="*/ 4481513 h 4481512"/>
              <a:gd name="connsiteX8" fmla="*/ 4795838 w 4795837"/>
              <a:gd name="connsiteY8" fmla="*/ 2240756 h 4481512"/>
              <a:gd name="connsiteX9" fmla="*/ 2555081 w 4795837"/>
              <a:gd name="connsiteY9" fmla="*/ 0 h 4481512"/>
              <a:gd name="connsiteX0" fmla="*/ 2997415 w 5238172"/>
              <a:gd name="connsiteY0" fmla="*/ 15520 h 4497033"/>
              <a:gd name="connsiteX1" fmla="*/ 2995034 w 5238172"/>
              <a:gd name="connsiteY1" fmla="*/ 15520 h 4497033"/>
              <a:gd name="connsiteX2" fmla="*/ 2995034 w 5238172"/>
              <a:gd name="connsiteY2" fmla="*/ 15520 h 4497033"/>
              <a:gd name="connsiteX3" fmla="*/ 0 w 5238172"/>
              <a:gd name="connsiteY3" fmla="*/ 0 h 4497033"/>
              <a:gd name="connsiteX4" fmla="*/ 442334 w 5238172"/>
              <a:gd name="connsiteY4" fmla="*/ 4497033 h 4497033"/>
              <a:gd name="connsiteX5" fmla="*/ 2995034 w 5238172"/>
              <a:gd name="connsiteY5" fmla="*/ 4497033 h 4497033"/>
              <a:gd name="connsiteX6" fmla="*/ 2995034 w 5238172"/>
              <a:gd name="connsiteY6" fmla="*/ 4497033 h 4497033"/>
              <a:gd name="connsiteX7" fmla="*/ 2997415 w 5238172"/>
              <a:gd name="connsiteY7" fmla="*/ 4497033 h 4497033"/>
              <a:gd name="connsiteX8" fmla="*/ 5238172 w 5238172"/>
              <a:gd name="connsiteY8" fmla="*/ 2256276 h 4497033"/>
              <a:gd name="connsiteX9" fmla="*/ 2997415 w 5238172"/>
              <a:gd name="connsiteY9" fmla="*/ 15520 h 4497033"/>
              <a:gd name="connsiteX0" fmla="*/ 2997415 w 5238172"/>
              <a:gd name="connsiteY0" fmla="*/ 15520 h 4497033"/>
              <a:gd name="connsiteX1" fmla="*/ 2995034 w 5238172"/>
              <a:gd name="connsiteY1" fmla="*/ 15520 h 4497033"/>
              <a:gd name="connsiteX2" fmla="*/ 2995034 w 5238172"/>
              <a:gd name="connsiteY2" fmla="*/ 15520 h 4497033"/>
              <a:gd name="connsiteX3" fmla="*/ 0 w 5238172"/>
              <a:gd name="connsiteY3" fmla="*/ 0 h 4497033"/>
              <a:gd name="connsiteX4" fmla="*/ 0 w 5238172"/>
              <a:gd name="connsiteY4" fmla="*/ 4481513 h 4497033"/>
              <a:gd name="connsiteX5" fmla="*/ 2995034 w 5238172"/>
              <a:gd name="connsiteY5" fmla="*/ 4497033 h 4497033"/>
              <a:gd name="connsiteX6" fmla="*/ 2995034 w 5238172"/>
              <a:gd name="connsiteY6" fmla="*/ 4497033 h 4497033"/>
              <a:gd name="connsiteX7" fmla="*/ 2997415 w 5238172"/>
              <a:gd name="connsiteY7" fmla="*/ 4497033 h 4497033"/>
              <a:gd name="connsiteX8" fmla="*/ 5238172 w 5238172"/>
              <a:gd name="connsiteY8" fmla="*/ 2256276 h 4497033"/>
              <a:gd name="connsiteX9" fmla="*/ 2997415 w 5238172"/>
              <a:gd name="connsiteY9" fmla="*/ 15520 h 4497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38172" h="4497033">
                <a:moveTo>
                  <a:pt x="2997415" y="15520"/>
                </a:moveTo>
                <a:lnTo>
                  <a:pt x="2995034" y="15520"/>
                </a:lnTo>
                <a:lnTo>
                  <a:pt x="2995034" y="15520"/>
                </a:lnTo>
                <a:lnTo>
                  <a:pt x="0" y="0"/>
                </a:lnTo>
                <a:lnTo>
                  <a:pt x="0" y="4481513"/>
                </a:lnTo>
                <a:lnTo>
                  <a:pt x="2995034" y="4497033"/>
                </a:lnTo>
                <a:lnTo>
                  <a:pt x="2995034" y="4497033"/>
                </a:lnTo>
                <a:lnTo>
                  <a:pt x="2997415" y="4497033"/>
                </a:lnTo>
                <a:cubicBezTo>
                  <a:pt x="4234713" y="4497033"/>
                  <a:pt x="5238172" y="3493574"/>
                  <a:pt x="5238172" y="2256276"/>
                </a:cubicBezTo>
                <a:cubicBezTo>
                  <a:pt x="5238172" y="1018979"/>
                  <a:pt x="4234713" y="15520"/>
                  <a:pt x="2997415" y="15520"/>
                </a:cubicBezTo>
                <a:close/>
              </a:path>
            </a:pathLst>
          </a:custGeom>
          <a:solidFill>
            <a:schemeClr val="accent3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2400"/>
          </a:p>
        </p:txBody>
      </p:sp>
      <p:sp>
        <p:nvSpPr>
          <p:cNvPr id="43" name="TextBox 7">
            <a:extLst>
              <a:ext uri="{FF2B5EF4-FFF2-40B4-BE49-F238E27FC236}">
                <a16:creationId xmlns:a16="http://schemas.microsoft.com/office/drawing/2014/main" id="{86A55290-BA34-574B-88BB-9F743262227F}"/>
              </a:ext>
            </a:extLst>
          </p:cNvPr>
          <p:cNvSpPr txBox="1"/>
          <p:nvPr/>
        </p:nvSpPr>
        <p:spPr>
          <a:xfrm>
            <a:off x="0" y="-381827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Subheading text green</a:t>
            </a:r>
          </a:p>
        </p:txBody>
      </p:sp>
      <p:sp>
        <p:nvSpPr>
          <p:cNvPr id="6" name="Plassholder for tekst 4">
            <a:extLst>
              <a:ext uri="{FF2B5EF4-FFF2-40B4-BE49-F238E27FC236}">
                <a16:creationId xmlns:a16="http://schemas.microsoft.com/office/drawing/2014/main" id="{242935F7-FD53-4903-9FFE-D8C971BBF4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352" y="1617133"/>
            <a:ext cx="5327649" cy="3259667"/>
          </a:xfrm>
        </p:spPr>
        <p:txBody>
          <a:bodyPr anchor="ctr"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ex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4618456"/>
      </p:ext>
    </p:extLst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ing text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E52D338C-325C-4E4C-A448-F511FDB4CE2E}"/>
              </a:ext>
            </a:extLst>
          </p:cNvPr>
          <p:cNvSpPr/>
          <p:nvPr userDrawn="1"/>
        </p:nvSpPr>
        <p:spPr>
          <a:xfrm>
            <a:off x="5081" y="5888992"/>
            <a:ext cx="4229100" cy="30860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 dirty="0">
              <a:solidFill>
                <a:schemeClr val="tx1"/>
              </a:solidFill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E7C3646D-3806-4646-A77B-08B9AFDCBB1F}"/>
              </a:ext>
            </a:extLst>
          </p:cNvPr>
          <p:cNvSpPr/>
          <p:nvPr/>
        </p:nvSpPr>
        <p:spPr>
          <a:xfrm>
            <a:off x="3360752" y="-21013"/>
            <a:ext cx="8831249" cy="621623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43" name="TextBox 7">
            <a:extLst>
              <a:ext uri="{FF2B5EF4-FFF2-40B4-BE49-F238E27FC236}">
                <a16:creationId xmlns:a16="http://schemas.microsoft.com/office/drawing/2014/main" id="{86A55290-BA34-574B-88BB-9F743262227F}"/>
              </a:ext>
            </a:extLst>
          </p:cNvPr>
          <p:cNvSpPr txBox="1"/>
          <p:nvPr/>
        </p:nvSpPr>
        <p:spPr>
          <a:xfrm>
            <a:off x="0" y="-381827"/>
            <a:ext cx="265489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b="1" noProof="1"/>
              <a:t>Subheading text beige</a:t>
            </a:r>
          </a:p>
        </p:txBody>
      </p:sp>
      <p:sp>
        <p:nvSpPr>
          <p:cNvPr id="8" name="Grafikk 6">
            <a:extLst>
              <a:ext uri="{FF2B5EF4-FFF2-40B4-BE49-F238E27FC236}">
                <a16:creationId xmlns:a16="http://schemas.microsoft.com/office/drawing/2014/main" id="{1F9965F8-4376-4682-86F6-B61699461876}"/>
              </a:ext>
            </a:extLst>
          </p:cNvPr>
          <p:cNvSpPr/>
          <p:nvPr/>
        </p:nvSpPr>
        <p:spPr>
          <a:xfrm>
            <a:off x="0" y="-29891"/>
            <a:ext cx="7251056" cy="6225117"/>
          </a:xfrm>
          <a:custGeom>
            <a:avLst/>
            <a:gdLst>
              <a:gd name="connsiteX0" fmla="*/ 2555081 w 4795837"/>
              <a:gd name="connsiteY0" fmla="*/ 0 h 4481512"/>
              <a:gd name="connsiteX1" fmla="*/ 2552700 w 4795837"/>
              <a:gd name="connsiteY1" fmla="*/ 0 h 4481512"/>
              <a:gd name="connsiteX2" fmla="*/ 2552700 w 4795837"/>
              <a:gd name="connsiteY2" fmla="*/ 0 h 4481512"/>
              <a:gd name="connsiteX3" fmla="*/ 0 w 4795837"/>
              <a:gd name="connsiteY3" fmla="*/ 0 h 4481512"/>
              <a:gd name="connsiteX4" fmla="*/ 0 w 4795837"/>
              <a:gd name="connsiteY4" fmla="*/ 4481513 h 4481512"/>
              <a:gd name="connsiteX5" fmla="*/ 2552700 w 4795837"/>
              <a:gd name="connsiteY5" fmla="*/ 4481513 h 4481512"/>
              <a:gd name="connsiteX6" fmla="*/ 2552700 w 4795837"/>
              <a:gd name="connsiteY6" fmla="*/ 4481513 h 4481512"/>
              <a:gd name="connsiteX7" fmla="*/ 2555081 w 4795837"/>
              <a:gd name="connsiteY7" fmla="*/ 4481513 h 4481512"/>
              <a:gd name="connsiteX8" fmla="*/ 4795838 w 4795837"/>
              <a:gd name="connsiteY8" fmla="*/ 2240756 h 4481512"/>
              <a:gd name="connsiteX9" fmla="*/ 2555081 w 4795837"/>
              <a:gd name="connsiteY9" fmla="*/ 0 h 4481512"/>
              <a:gd name="connsiteX0" fmla="*/ 2997415 w 5238172"/>
              <a:gd name="connsiteY0" fmla="*/ 15520 h 4497033"/>
              <a:gd name="connsiteX1" fmla="*/ 2995034 w 5238172"/>
              <a:gd name="connsiteY1" fmla="*/ 15520 h 4497033"/>
              <a:gd name="connsiteX2" fmla="*/ 2995034 w 5238172"/>
              <a:gd name="connsiteY2" fmla="*/ 15520 h 4497033"/>
              <a:gd name="connsiteX3" fmla="*/ 0 w 5238172"/>
              <a:gd name="connsiteY3" fmla="*/ 0 h 4497033"/>
              <a:gd name="connsiteX4" fmla="*/ 442334 w 5238172"/>
              <a:gd name="connsiteY4" fmla="*/ 4497033 h 4497033"/>
              <a:gd name="connsiteX5" fmla="*/ 2995034 w 5238172"/>
              <a:gd name="connsiteY5" fmla="*/ 4497033 h 4497033"/>
              <a:gd name="connsiteX6" fmla="*/ 2995034 w 5238172"/>
              <a:gd name="connsiteY6" fmla="*/ 4497033 h 4497033"/>
              <a:gd name="connsiteX7" fmla="*/ 2997415 w 5238172"/>
              <a:gd name="connsiteY7" fmla="*/ 4497033 h 4497033"/>
              <a:gd name="connsiteX8" fmla="*/ 5238172 w 5238172"/>
              <a:gd name="connsiteY8" fmla="*/ 2256276 h 4497033"/>
              <a:gd name="connsiteX9" fmla="*/ 2997415 w 5238172"/>
              <a:gd name="connsiteY9" fmla="*/ 15520 h 4497033"/>
              <a:gd name="connsiteX0" fmla="*/ 2997415 w 5238172"/>
              <a:gd name="connsiteY0" fmla="*/ 15520 h 4497033"/>
              <a:gd name="connsiteX1" fmla="*/ 2995034 w 5238172"/>
              <a:gd name="connsiteY1" fmla="*/ 15520 h 4497033"/>
              <a:gd name="connsiteX2" fmla="*/ 2995034 w 5238172"/>
              <a:gd name="connsiteY2" fmla="*/ 15520 h 4497033"/>
              <a:gd name="connsiteX3" fmla="*/ 0 w 5238172"/>
              <a:gd name="connsiteY3" fmla="*/ 0 h 4497033"/>
              <a:gd name="connsiteX4" fmla="*/ 0 w 5238172"/>
              <a:gd name="connsiteY4" fmla="*/ 4481513 h 4497033"/>
              <a:gd name="connsiteX5" fmla="*/ 2995034 w 5238172"/>
              <a:gd name="connsiteY5" fmla="*/ 4497033 h 4497033"/>
              <a:gd name="connsiteX6" fmla="*/ 2995034 w 5238172"/>
              <a:gd name="connsiteY6" fmla="*/ 4497033 h 4497033"/>
              <a:gd name="connsiteX7" fmla="*/ 2997415 w 5238172"/>
              <a:gd name="connsiteY7" fmla="*/ 4497033 h 4497033"/>
              <a:gd name="connsiteX8" fmla="*/ 5238172 w 5238172"/>
              <a:gd name="connsiteY8" fmla="*/ 2256276 h 4497033"/>
              <a:gd name="connsiteX9" fmla="*/ 2997415 w 5238172"/>
              <a:gd name="connsiteY9" fmla="*/ 15520 h 4497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38172" h="4497033">
                <a:moveTo>
                  <a:pt x="2997415" y="15520"/>
                </a:moveTo>
                <a:lnTo>
                  <a:pt x="2995034" y="15520"/>
                </a:lnTo>
                <a:lnTo>
                  <a:pt x="2995034" y="15520"/>
                </a:lnTo>
                <a:lnTo>
                  <a:pt x="0" y="0"/>
                </a:lnTo>
                <a:lnTo>
                  <a:pt x="0" y="4481513"/>
                </a:lnTo>
                <a:lnTo>
                  <a:pt x="2995034" y="4497033"/>
                </a:lnTo>
                <a:lnTo>
                  <a:pt x="2995034" y="4497033"/>
                </a:lnTo>
                <a:lnTo>
                  <a:pt x="2997415" y="4497033"/>
                </a:lnTo>
                <a:cubicBezTo>
                  <a:pt x="4234713" y="4497033"/>
                  <a:pt x="5238172" y="3493574"/>
                  <a:pt x="5238172" y="2256276"/>
                </a:cubicBezTo>
                <a:cubicBezTo>
                  <a:pt x="5238172" y="1018979"/>
                  <a:pt x="4234713" y="15520"/>
                  <a:pt x="2997415" y="15520"/>
                </a:cubicBezTo>
                <a:close/>
              </a:path>
            </a:pathLst>
          </a:custGeom>
          <a:solidFill>
            <a:schemeClr val="accent1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240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FB97C50C-AD9F-4084-A912-4C6B175378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8352" y="1617133"/>
            <a:ext cx="5327649" cy="3259667"/>
          </a:xfrm>
        </p:spPr>
        <p:txBody>
          <a:bodyPr anchor="ctr"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ex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3147414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B1DF1-FA0D-4586-A111-DE3517CCF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19E3A9-11D0-43F8-BCC4-4A3FF6505B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5BCB39-B1E6-431C-A42B-7E4C09932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B97477-2B8A-4325-AA42-84368FDC7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F3FA67-6EA6-44DF-B920-7AA668289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7AFD9E-21F0-429C-8355-948004611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27839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87DB1-A880-4984-88E7-AA7C9A006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86D990-C0D4-474F-9EE9-67C4BEFCD4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5912C2-C2D6-430E-A078-341F565AE4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6EA2B4-B4CC-4566-83FA-1D36ACF64A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16A1EB5-E7B9-45AF-B6F4-80B3ACEF45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B65D18-495E-4FF4-96AB-2F3BBEE8F6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88B8AC0-6BC3-48C3-903B-D8545128E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471ACD-A2AF-4577-8C9E-7DE3C0F1A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199110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56BBC2-59DD-4926-A525-8ACE5AE55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C4A3FB-7724-4D51-8EA1-30AF80C29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CA6C43-459A-4449-923B-903701DDB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2FEBDE-42A6-41B8-B0B5-A6C9BDBBB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06145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750254-8333-4995-839F-0588F8C11F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C2BC7F-2C23-4AC7-B8BA-1D9782D37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7C82A6-504A-4F4B-9BAD-55A559F7C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370580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07C5F-AE19-4270-B520-A5666AC8C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B2C726-AED2-4791-AB61-B170129E21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D1435F-0DAA-464E-8649-D8DA188B5E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4C273B-35A0-497D-848D-A8697CB932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59BA4A-40C3-448D-AF19-E681F49A8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E0EE2E-4B49-473F-BCBF-731784CD2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70835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oleObject" Target="../embeddings/oleObject2.bin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image" Target="../media/image3.gif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theme" Target="../theme/theme2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1955AB4-5325-4214-9DE5-1BE85579A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90292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1955AB4-5325-4214-9DE5-1BE85579A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10CEB7-689D-452C-B0F5-A33E3627F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33FD9F-0CBC-4CF3-BB6E-9EE6CA2BD0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6F6C89-2679-4137-A229-D57E6357B4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901D6E-93A1-48DE-9F2D-1A7863393DE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D5575B-24D9-436A-BE75-E785E39082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9F47EB-016C-417C-B9BD-4C7D1DFCBA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269F1D-D56E-45E3-8F2E-2D35159D438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0434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571F16-4A64-410F-8D44-A356967825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015508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592" imgH="595" progId="TCLayout.ActiveDocument.1">
                  <p:embed/>
                </p:oleObj>
              </mc:Choice>
              <mc:Fallback>
                <p:oleObj name="think-cell Slide" r:id="rId39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571F16-4A64-410F-8D44-A35696782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Title Placeholder 1">
            <a:extLst>
              <a:ext uri="{FF2B5EF4-FFF2-40B4-BE49-F238E27FC236}">
                <a16:creationId xmlns:a16="http://schemas.microsoft.com/office/drawing/2014/main" id="{B515287C-9FCD-48FF-B633-2553214F1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352" y="480000"/>
            <a:ext cx="11093448" cy="8088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add</a:t>
            </a:r>
            <a:r>
              <a:rPr lang="nb-NO" noProof="0"/>
              <a:t> </a:t>
            </a:r>
            <a:r>
              <a:rPr lang="nb-NO" noProof="0" err="1"/>
              <a:t>title</a:t>
            </a:r>
            <a:r>
              <a:rPr lang="nb-NO" noProof="0"/>
              <a:t> </a:t>
            </a:r>
            <a:r>
              <a:rPr lang="nb-NO" noProof="0" err="1"/>
              <a:t>max</a:t>
            </a:r>
            <a:r>
              <a:rPr lang="nb-NO" noProof="0"/>
              <a:t> 2 lines</a:t>
            </a: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DA051152-7541-47A2-BDD1-0188DE7B0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8351" y="1617133"/>
            <a:ext cx="11135783" cy="4307415"/>
          </a:xfrm>
          <a:prstGeom prst="rect">
            <a:avLst/>
          </a:prstGeom>
        </p:spPr>
        <p:txBody>
          <a:bodyPr vert="horz" lIns="0" tIns="0" rIns="0" bIns="45720" rtlCol="0">
            <a:normAutofit/>
          </a:bodyPr>
          <a:lstStyle/>
          <a:p>
            <a:pPr lvl="0"/>
            <a:r>
              <a:rPr lang="nb-NO" noProof="0" err="1"/>
              <a:t>Text</a:t>
            </a:r>
            <a:r>
              <a:rPr lang="nb-NO" noProof="0"/>
              <a:t> first Level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15" name="TextBox 49">
            <a:extLst>
              <a:ext uri="{FF2B5EF4-FFF2-40B4-BE49-F238E27FC236}">
                <a16:creationId xmlns:a16="http://schemas.microsoft.com/office/drawing/2014/main" id="{76E39AC8-80BF-4DA6-9719-ACC923A292D1}"/>
              </a:ext>
            </a:extLst>
          </p:cNvPr>
          <p:cNvSpPr txBox="1"/>
          <p:nvPr/>
        </p:nvSpPr>
        <p:spPr>
          <a:xfrm>
            <a:off x="0" y="-630429"/>
            <a:ext cx="241300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0" noProof="0" dirty="0">
                <a:latin typeface="+mn-lt"/>
              </a:rPr>
              <a:t>Company 2021 – 16:9</a:t>
            </a:r>
          </a:p>
        </p:txBody>
      </p:sp>
      <p:grpSp>
        <p:nvGrpSpPr>
          <p:cNvPr id="116" name="Gruppe 115">
            <a:extLst>
              <a:ext uri="{FF2B5EF4-FFF2-40B4-BE49-F238E27FC236}">
                <a16:creationId xmlns:a16="http://schemas.microsoft.com/office/drawing/2014/main" id="{42A25B68-0CC2-42B6-BB8B-60926BFCB27C}"/>
              </a:ext>
            </a:extLst>
          </p:cNvPr>
          <p:cNvGrpSpPr/>
          <p:nvPr/>
        </p:nvGrpSpPr>
        <p:grpSpPr>
          <a:xfrm>
            <a:off x="0" y="7063717"/>
            <a:ext cx="12192000" cy="240000"/>
            <a:chOff x="0" y="5297788"/>
            <a:chExt cx="9144000" cy="372979"/>
          </a:xfrm>
        </p:grpSpPr>
        <p:cxnSp>
          <p:nvCxnSpPr>
            <p:cNvPr id="117" name="Rett linje 116">
              <a:extLst>
                <a:ext uri="{FF2B5EF4-FFF2-40B4-BE49-F238E27FC236}">
                  <a16:creationId xmlns:a16="http://schemas.microsoft.com/office/drawing/2014/main" id="{6CC28FB3-8AD6-4B21-B155-6C69FAACF832}"/>
                </a:ext>
              </a:extLst>
            </p:cNvPr>
            <p:cNvCxnSpPr/>
            <p:nvPr/>
          </p:nvCxnSpPr>
          <p:spPr>
            <a:xfrm>
              <a:off x="9144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Rett linje 117">
              <a:extLst>
                <a:ext uri="{FF2B5EF4-FFF2-40B4-BE49-F238E27FC236}">
                  <a16:creationId xmlns:a16="http://schemas.microsoft.com/office/drawing/2014/main" id="{8733D7B6-A5DA-44E9-BC20-BE74E165B210}"/>
                </a:ext>
              </a:extLst>
            </p:cNvPr>
            <p:cNvCxnSpPr/>
            <p:nvPr/>
          </p:nvCxnSpPr>
          <p:spPr>
            <a:xfrm>
              <a:off x="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Rett linje 118">
              <a:extLst>
                <a:ext uri="{FF2B5EF4-FFF2-40B4-BE49-F238E27FC236}">
                  <a16:creationId xmlns:a16="http://schemas.microsoft.com/office/drawing/2014/main" id="{E94F13EF-795D-4F02-9127-9151AA428E5B}"/>
                </a:ext>
              </a:extLst>
            </p:cNvPr>
            <p:cNvCxnSpPr/>
            <p:nvPr/>
          </p:nvCxnSpPr>
          <p:spPr>
            <a:xfrm>
              <a:off x="4572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Rett linje 119">
              <a:extLst>
                <a:ext uri="{FF2B5EF4-FFF2-40B4-BE49-F238E27FC236}">
                  <a16:creationId xmlns:a16="http://schemas.microsoft.com/office/drawing/2014/main" id="{4B9C74B1-4F29-42FA-A449-356C05E11707}"/>
                </a:ext>
              </a:extLst>
            </p:cNvPr>
            <p:cNvCxnSpPr/>
            <p:nvPr/>
          </p:nvCxnSpPr>
          <p:spPr>
            <a:xfrm>
              <a:off x="6858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Rett linje 120">
              <a:extLst>
                <a:ext uri="{FF2B5EF4-FFF2-40B4-BE49-F238E27FC236}">
                  <a16:creationId xmlns:a16="http://schemas.microsoft.com/office/drawing/2014/main" id="{9EDD3CBC-58B3-45D9-A98A-835335F0029F}"/>
                </a:ext>
              </a:extLst>
            </p:cNvPr>
            <p:cNvCxnSpPr/>
            <p:nvPr/>
          </p:nvCxnSpPr>
          <p:spPr>
            <a:xfrm>
              <a:off x="2286000" y="5297788"/>
              <a:ext cx="0" cy="372979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Rett linje 124">
              <a:extLst>
                <a:ext uri="{FF2B5EF4-FFF2-40B4-BE49-F238E27FC236}">
                  <a16:creationId xmlns:a16="http://schemas.microsoft.com/office/drawing/2014/main" id="{A643A3BF-F314-42D9-8B21-A42A6CB4EAC8}"/>
                </a:ext>
              </a:extLst>
            </p:cNvPr>
            <p:cNvCxnSpPr/>
            <p:nvPr/>
          </p:nvCxnSpPr>
          <p:spPr>
            <a:xfrm>
              <a:off x="8001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Rett linje 125">
              <a:extLst>
                <a:ext uri="{FF2B5EF4-FFF2-40B4-BE49-F238E27FC236}">
                  <a16:creationId xmlns:a16="http://schemas.microsoft.com/office/drawing/2014/main" id="{3068E404-E365-48CF-9B55-27F6C936E513}"/>
                </a:ext>
              </a:extLst>
            </p:cNvPr>
            <p:cNvCxnSpPr/>
            <p:nvPr/>
          </p:nvCxnSpPr>
          <p:spPr>
            <a:xfrm>
              <a:off x="5715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Rett linje 126">
              <a:extLst>
                <a:ext uri="{FF2B5EF4-FFF2-40B4-BE49-F238E27FC236}">
                  <a16:creationId xmlns:a16="http://schemas.microsoft.com/office/drawing/2014/main" id="{C55A57E6-9DB7-4D5C-A8B0-FFE6F44E8268}"/>
                </a:ext>
              </a:extLst>
            </p:cNvPr>
            <p:cNvCxnSpPr/>
            <p:nvPr/>
          </p:nvCxnSpPr>
          <p:spPr>
            <a:xfrm>
              <a:off x="3429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Rett linje 127">
              <a:extLst>
                <a:ext uri="{FF2B5EF4-FFF2-40B4-BE49-F238E27FC236}">
                  <a16:creationId xmlns:a16="http://schemas.microsoft.com/office/drawing/2014/main" id="{B1D0C594-B480-4D71-B34A-8D95362DA394}"/>
                </a:ext>
              </a:extLst>
            </p:cNvPr>
            <p:cNvCxnSpPr/>
            <p:nvPr/>
          </p:nvCxnSpPr>
          <p:spPr>
            <a:xfrm>
              <a:off x="1143000" y="5297788"/>
              <a:ext cx="0" cy="216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Rett linje 128">
              <a:extLst>
                <a:ext uri="{FF2B5EF4-FFF2-40B4-BE49-F238E27FC236}">
                  <a16:creationId xmlns:a16="http://schemas.microsoft.com/office/drawing/2014/main" id="{A5F4C838-F500-4B90-B27E-F38CFC5301EA}"/>
                </a:ext>
              </a:extLst>
            </p:cNvPr>
            <p:cNvCxnSpPr/>
            <p:nvPr/>
          </p:nvCxnSpPr>
          <p:spPr>
            <a:xfrm>
              <a:off x="8572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Rett linje 129">
              <a:extLst>
                <a:ext uri="{FF2B5EF4-FFF2-40B4-BE49-F238E27FC236}">
                  <a16:creationId xmlns:a16="http://schemas.microsoft.com/office/drawing/2014/main" id="{F0BC09D2-B2A1-48C2-9A33-92D201D04C8F}"/>
                </a:ext>
              </a:extLst>
            </p:cNvPr>
            <p:cNvCxnSpPr/>
            <p:nvPr/>
          </p:nvCxnSpPr>
          <p:spPr>
            <a:xfrm>
              <a:off x="7429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Rett linje 130">
              <a:extLst>
                <a:ext uri="{FF2B5EF4-FFF2-40B4-BE49-F238E27FC236}">
                  <a16:creationId xmlns:a16="http://schemas.microsoft.com/office/drawing/2014/main" id="{B4F79447-15CC-483E-8555-280233E696E2}"/>
                </a:ext>
              </a:extLst>
            </p:cNvPr>
            <p:cNvCxnSpPr/>
            <p:nvPr/>
          </p:nvCxnSpPr>
          <p:spPr>
            <a:xfrm>
              <a:off x="6286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Rett linje 131">
              <a:extLst>
                <a:ext uri="{FF2B5EF4-FFF2-40B4-BE49-F238E27FC236}">
                  <a16:creationId xmlns:a16="http://schemas.microsoft.com/office/drawing/2014/main" id="{F6C83235-AF8D-4965-91A2-54A29A9DA166}"/>
                </a:ext>
              </a:extLst>
            </p:cNvPr>
            <p:cNvCxnSpPr/>
            <p:nvPr/>
          </p:nvCxnSpPr>
          <p:spPr>
            <a:xfrm>
              <a:off x="5143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Rett linje 132">
              <a:extLst>
                <a:ext uri="{FF2B5EF4-FFF2-40B4-BE49-F238E27FC236}">
                  <a16:creationId xmlns:a16="http://schemas.microsoft.com/office/drawing/2014/main" id="{FB77AF71-6D2A-40E0-A86E-5737FBFCB4BC}"/>
                </a:ext>
              </a:extLst>
            </p:cNvPr>
            <p:cNvCxnSpPr/>
            <p:nvPr/>
          </p:nvCxnSpPr>
          <p:spPr>
            <a:xfrm>
              <a:off x="4000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tt linje 135">
              <a:extLst>
                <a:ext uri="{FF2B5EF4-FFF2-40B4-BE49-F238E27FC236}">
                  <a16:creationId xmlns:a16="http://schemas.microsoft.com/office/drawing/2014/main" id="{2DA69254-51DF-4573-AD1B-E4AC0A829B4B}"/>
                </a:ext>
              </a:extLst>
            </p:cNvPr>
            <p:cNvCxnSpPr/>
            <p:nvPr/>
          </p:nvCxnSpPr>
          <p:spPr>
            <a:xfrm>
              <a:off x="2857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Rett linje 145">
              <a:extLst>
                <a:ext uri="{FF2B5EF4-FFF2-40B4-BE49-F238E27FC236}">
                  <a16:creationId xmlns:a16="http://schemas.microsoft.com/office/drawing/2014/main" id="{4D9E6C63-AA5A-4B99-9B63-49B403BB49E5}"/>
                </a:ext>
              </a:extLst>
            </p:cNvPr>
            <p:cNvCxnSpPr/>
            <p:nvPr/>
          </p:nvCxnSpPr>
          <p:spPr>
            <a:xfrm>
              <a:off x="1714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Rett linje 146">
              <a:extLst>
                <a:ext uri="{FF2B5EF4-FFF2-40B4-BE49-F238E27FC236}">
                  <a16:creationId xmlns:a16="http://schemas.microsoft.com/office/drawing/2014/main" id="{914B6012-7EA6-451C-A791-EFDCB183B2E1}"/>
                </a:ext>
              </a:extLst>
            </p:cNvPr>
            <p:cNvCxnSpPr/>
            <p:nvPr/>
          </p:nvCxnSpPr>
          <p:spPr>
            <a:xfrm>
              <a:off x="571500" y="5297788"/>
              <a:ext cx="0" cy="18000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e 2">
            <a:extLst>
              <a:ext uri="{FF2B5EF4-FFF2-40B4-BE49-F238E27FC236}">
                <a16:creationId xmlns:a16="http://schemas.microsoft.com/office/drawing/2014/main" id="{3701FB3B-DA44-453D-929B-B5C6D40FB13E}"/>
              </a:ext>
            </a:extLst>
          </p:cNvPr>
          <p:cNvGrpSpPr/>
          <p:nvPr/>
        </p:nvGrpSpPr>
        <p:grpSpPr>
          <a:xfrm>
            <a:off x="-452097" y="1"/>
            <a:ext cx="240000" cy="6230483"/>
            <a:chOff x="-339073" y="1"/>
            <a:chExt cx="180000" cy="4672862"/>
          </a:xfrm>
        </p:grpSpPr>
        <p:cxnSp>
          <p:nvCxnSpPr>
            <p:cNvPr id="151" name="Rett linje 150">
              <a:extLst>
                <a:ext uri="{FF2B5EF4-FFF2-40B4-BE49-F238E27FC236}">
                  <a16:creationId xmlns:a16="http://schemas.microsoft.com/office/drawing/2014/main" id="{B6D3796B-AF60-4E7C-A44A-1313D9D81D8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249073" y="-89999"/>
              <a:ext cx="0" cy="180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Rett linje 151">
              <a:extLst>
                <a:ext uri="{FF2B5EF4-FFF2-40B4-BE49-F238E27FC236}">
                  <a16:creationId xmlns:a16="http://schemas.microsoft.com/office/drawing/2014/main" id="{12EBF60A-BE47-4B99-9A88-38A7843B26EA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249073" y="4582863"/>
              <a:ext cx="0" cy="180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Rett linje 152">
              <a:extLst>
                <a:ext uri="{FF2B5EF4-FFF2-40B4-BE49-F238E27FC236}">
                  <a16:creationId xmlns:a16="http://schemas.microsoft.com/office/drawing/2014/main" id="{CE0E1848-CF8F-4E26-BCE4-4E91193136C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249073" y="2336401"/>
              <a:ext cx="0" cy="180000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Rett linje 153">
              <a:extLst>
                <a:ext uri="{FF2B5EF4-FFF2-40B4-BE49-F238E27FC236}">
                  <a16:creationId xmlns:a16="http://schemas.microsoft.com/office/drawing/2014/main" id="{177243C6-47FB-4E23-BFEC-BA87D645D0A6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211194" y="1161080"/>
              <a:ext cx="0" cy="104242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Rett linje 154">
              <a:extLst>
                <a:ext uri="{FF2B5EF4-FFF2-40B4-BE49-F238E27FC236}">
                  <a16:creationId xmlns:a16="http://schemas.microsoft.com/office/drawing/2014/main" id="{36C9B607-1F45-49B0-9A66-9CA637C6968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211194" y="3587480"/>
              <a:ext cx="0" cy="104242"/>
            </a:xfrm>
            <a:prstGeom prst="line">
              <a:avLst/>
            </a:prstGeom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Rett linje 155">
              <a:extLst>
                <a:ext uri="{FF2B5EF4-FFF2-40B4-BE49-F238E27FC236}">
                  <a16:creationId xmlns:a16="http://schemas.microsoft.com/office/drawing/2014/main" id="{016E9C20-467E-4622-8643-E291118C3233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202507" y="563167"/>
              <a:ext cx="0" cy="86868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Rett linje 156">
              <a:extLst>
                <a:ext uri="{FF2B5EF4-FFF2-40B4-BE49-F238E27FC236}">
                  <a16:creationId xmlns:a16="http://schemas.microsoft.com/office/drawing/2014/main" id="{C3A79EA7-79D7-4104-9BE8-240CD2B128DE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202507" y="1776367"/>
              <a:ext cx="0" cy="86868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Rett linje 157">
              <a:extLst>
                <a:ext uri="{FF2B5EF4-FFF2-40B4-BE49-F238E27FC236}">
                  <a16:creationId xmlns:a16="http://schemas.microsoft.com/office/drawing/2014/main" id="{42BB593A-1B86-4DC0-BB2F-F706FF9637D6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202507" y="2989567"/>
              <a:ext cx="0" cy="86868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Rett linje 158">
              <a:extLst>
                <a:ext uri="{FF2B5EF4-FFF2-40B4-BE49-F238E27FC236}">
                  <a16:creationId xmlns:a16="http://schemas.microsoft.com/office/drawing/2014/main" id="{64750091-981D-4FD8-AB1A-741C8F35C8F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202507" y="4202767"/>
              <a:ext cx="0" cy="86868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5" name="TekstSylinder 224">
            <a:extLst>
              <a:ext uri="{FF2B5EF4-FFF2-40B4-BE49-F238E27FC236}">
                <a16:creationId xmlns:a16="http://schemas.microsoft.com/office/drawing/2014/main" id="{6494639C-40E1-4987-A007-AA176ACAB69F}"/>
              </a:ext>
            </a:extLst>
          </p:cNvPr>
          <p:cNvSpPr txBox="1"/>
          <p:nvPr/>
        </p:nvSpPr>
        <p:spPr>
          <a:xfrm>
            <a:off x="0" y="7385259"/>
            <a:ext cx="5220677" cy="749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dirty="0"/>
              <a:t>Photo </a:t>
            </a:r>
            <a:r>
              <a:rPr lang="nb-NO" sz="1067" b="1" dirty="0" err="1"/>
              <a:t>use</a:t>
            </a:r>
            <a:r>
              <a:rPr lang="nb-NO" sz="1067" b="1" dirty="0"/>
              <a:t>: </a:t>
            </a:r>
            <a:r>
              <a:rPr lang="nb-NO" sz="1067" b="0" dirty="0"/>
              <a:t>Images must not be </a:t>
            </a:r>
            <a:r>
              <a:rPr lang="nb-NO" sz="1067" b="0" dirty="0" err="1"/>
              <a:t>compressed</a:t>
            </a:r>
            <a:r>
              <a:rPr lang="nb-NO" sz="1067" b="0" dirty="0"/>
              <a:t> to less </a:t>
            </a:r>
            <a:r>
              <a:rPr lang="nb-NO" sz="1067" b="0" dirty="0" err="1"/>
              <a:t>than</a:t>
            </a:r>
            <a:r>
              <a:rPr lang="nb-NO" sz="1067" b="0" dirty="0"/>
              <a:t> 220 </a:t>
            </a:r>
            <a:r>
              <a:rPr lang="nb-NO" sz="1067" b="0" dirty="0" err="1"/>
              <a:t>ppt</a:t>
            </a:r>
            <a:r>
              <a:rPr lang="nb-NO" sz="1067" b="0" dirty="0"/>
              <a:t>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67" b="1" dirty="0"/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67" b="1" dirty="0"/>
              <a:t>Rights:</a:t>
            </a:r>
            <a:r>
              <a:rPr lang="nb-NO" sz="1067" b="0" dirty="0"/>
              <a:t> It's not </a:t>
            </a:r>
            <a:r>
              <a:rPr lang="nb-NO" sz="1067" b="0" dirty="0" err="1"/>
              <a:t>allowed</a:t>
            </a:r>
            <a:r>
              <a:rPr lang="nb-NO" sz="1067" b="0" dirty="0"/>
              <a:t> to </a:t>
            </a:r>
            <a:r>
              <a:rPr lang="nb-NO" sz="1067" b="0" dirty="0" err="1"/>
              <a:t>copy</a:t>
            </a:r>
            <a:r>
              <a:rPr lang="nb-NO" sz="1067" b="0" dirty="0"/>
              <a:t>/</a:t>
            </a:r>
            <a:r>
              <a:rPr lang="nb-NO" sz="1067" b="0" dirty="0" err="1"/>
              <a:t>use</a:t>
            </a:r>
            <a:r>
              <a:rPr lang="nb-NO" sz="1067" b="0" dirty="0"/>
              <a:t> </a:t>
            </a:r>
            <a:r>
              <a:rPr lang="nb-NO" sz="1067" b="0" dirty="0" err="1"/>
              <a:t>pictures</a:t>
            </a:r>
            <a:r>
              <a:rPr lang="nb-NO" sz="1067" b="0" dirty="0"/>
              <a:t> </a:t>
            </a:r>
            <a:r>
              <a:rPr lang="nb-NO" sz="1067" b="0" dirty="0" err="1"/>
              <a:t>without</a:t>
            </a:r>
            <a:r>
              <a:rPr lang="nb-NO" sz="1067" b="0" dirty="0"/>
              <a:t> </a:t>
            </a:r>
            <a:r>
              <a:rPr lang="nb-NO" sz="1067" b="0" dirty="0" err="1"/>
              <a:t>the</a:t>
            </a:r>
            <a:r>
              <a:rPr lang="nb-NO" sz="1067" b="0" dirty="0"/>
              <a:t> </a:t>
            </a:r>
            <a:r>
              <a:rPr lang="nb-NO" sz="1067" b="0" dirty="0" err="1"/>
              <a:t>rights</a:t>
            </a:r>
            <a:r>
              <a:rPr lang="nb-NO" sz="1067" b="0" dirty="0"/>
              <a:t> </a:t>
            </a:r>
            <a:r>
              <a:rPr lang="nb-NO" sz="1067" b="0" dirty="0" err="1"/>
              <a:t>being</a:t>
            </a:r>
            <a:r>
              <a:rPr lang="nb-NO" sz="1067" b="0" dirty="0"/>
              <a:t> </a:t>
            </a:r>
            <a:r>
              <a:rPr lang="nb-NO" sz="1067" b="0" dirty="0" err="1"/>
              <a:t>clarified</a:t>
            </a:r>
            <a:r>
              <a:rPr lang="nb-NO" sz="1067" b="0" dirty="0"/>
              <a:t> </a:t>
            </a:r>
            <a:r>
              <a:rPr lang="nb-NO" sz="1067" b="0" dirty="0" err="1"/>
              <a:t>with</a:t>
            </a:r>
            <a:r>
              <a:rPr lang="nb-NO" sz="1067" b="0" dirty="0"/>
              <a:t> </a:t>
            </a:r>
            <a:r>
              <a:rPr lang="nb-NO" sz="1067" b="0" dirty="0" err="1"/>
              <a:t>the</a:t>
            </a:r>
            <a:r>
              <a:rPr lang="nb-NO" sz="1067" b="0" dirty="0"/>
              <a:t> </a:t>
            </a:r>
            <a:r>
              <a:rPr lang="nb-NO" sz="1067" b="0" dirty="0" err="1"/>
              <a:t>photographer</a:t>
            </a:r>
            <a:r>
              <a:rPr lang="nb-NO" sz="1067" b="0" dirty="0"/>
              <a:t>/</a:t>
            </a:r>
            <a:r>
              <a:rPr lang="nb-NO" sz="1067" b="0" dirty="0" err="1"/>
              <a:t>photo</a:t>
            </a:r>
            <a:r>
              <a:rPr lang="nb-NO" sz="1067" b="0" dirty="0"/>
              <a:t> </a:t>
            </a:r>
            <a:r>
              <a:rPr lang="nb-NO" sz="1067" b="0" dirty="0" err="1"/>
              <a:t>agency</a:t>
            </a:r>
            <a:r>
              <a:rPr lang="nb-NO" sz="1067" b="0" dirty="0"/>
              <a:t>.</a:t>
            </a:r>
            <a:endParaRPr lang="en-GB" sz="1067" b="1" dirty="0"/>
          </a:p>
        </p:txBody>
      </p:sp>
      <p:pic>
        <p:nvPicPr>
          <p:cNvPr id="229" name="Bilde 228">
            <a:extLst>
              <a:ext uri="{FF2B5EF4-FFF2-40B4-BE49-F238E27FC236}">
                <a16:creationId xmlns:a16="http://schemas.microsoft.com/office/drawing/2014/main" id="{3F28F2BB-B866-4210-A769-D15E27438100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8789155" y="-1495075"/>
            <a:ext cx="3072645" cy="1277620"/>
          </a:xfrm>
          <a:prstGeom prst="rect">
            <a:avLst/>
          </a:prstGeom>
        </p:spPr>
      </p:pic>
      <p:cxnSp>
        <p:nvCxnSpPr>
          <p:cNvPr id="228" name="Rett linje 227">
            <a:extLst>
              <a:ext uri="{FF2B5EF4-FFF2-40B4-BE49-F238E27FC236}">
                <a16:creationId xmlns:a16="http://schemas.microsoft.com/office/drawing/2014/main" id="{A0B380D3-2591-4F53-9759-6BC4B71689ED}"/>
              </a:ext>
            </a:extLst>
          </p:cNvPr>
          <p:cNvCxnSpPr>
            <a:cxnSpLocks/>
          </p:cNvCxnSpPr>
          <p:nvPr userDrawn="1"/>
        </p:nvCxnSpPr>
        <p:spPr>
          <a:xfrm>
            <a:off x="-2001" y="6214831"/>
            <a:ext cx="12192000" cy="0"/>
          </a:xfrm>
          <a:prstGeom prst="line">
            <a:avLst/>
          </a:prstGeom>
          <a:ln w="19050">
            <a:solidFill>
              <a:srgbClr val="DA29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Bilde 39" descr="Et bilde som inneholder pil&#10;&#10;Automatisk generert beskrivelse">
            <a:extLst>
              <a:ext uri="{FF2B5EF4-FFF2-40B4-BE49-F238E27FC236}">
                <a16:creationId xmlns:a16="http://schemas.microsoft.com/office/drawing/2014/main" id="{056342F7-AD46-4A72-AC20-3D1B2CFFFA1C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11231589" y="6486137"/>
            <a:ext cx="677915" cy="168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395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</p:sldLayoutIdLst>
  <p:transition>
    <p:fade/>
  </p:transition>
  <p:hf sldNum="0" hdr="0" ftr="0" dt="0"/>
  <p:txStyles>
    <p:titleStyle>
      <a:lvl1pPr algn="l" defTabSz="609585" rtl="0" eaLnBrk="1" latinLnBrk="0" hangingPunct="1">
        <a:spcBef>
          <a:spcPct val="0"/>
        </a:spcBef>
        <a:buNone/>
        <a:defRPr sz="2933" kern="1200" baseline="0">
          <a:solidFill>
            <a:srgbClr val="BF0900"/>
          </a:solidFill>
          <a:latin typeface="Verdana"/>
          <a:ea typeface="+mj-ea"/>
          <a:cs typeface="Verdana"/>
        </a:defRPr>
      </a:lvl1pPr>
    </p:titleStyle>
    <p:bodyStyle>
      <a:lvl1pPr marL="167996" indent="-167996" algn="l" defTabSz="609585" rtl="0" eaLnBrk="1" latinLnBrk="0" hangingPunct="1">
        <a:spcBef>
          <a:spcPts val="1600"/>
        </a:spcBef>
        <a:buClr>
          <a:schemeClr val="tx2"/>
        </a:buClr>
        <a:buFont typeface="Arial"/>
        <a:buChar char="•"/>
        <a:defRPr sz="2000" kern="1200" baseline="0">
          <a:solidFill>
            <a:schemeClr val="tx1"/>
          </a:solidFill>
          <a:latin typeface="Verdana"/>
          <a:ea typeface="+mn-ea"/>
          <a:cs typeface="Verdana"/>
        </a:defRPr>
      </a:lvl1pPr>
      <a:lvl2pPr marL="359991" indent="-167996" algn="l" defTabSz="609585" rtl="0" eaLnBrk="1" latinLnBrk="0" hangingPunct="1">
        <a:spcBef>
          <a:spcPts val="400"/>
        </a:spcBef>
        <a:buClr>
          <a:schemeClr val="tx2"/>
        </a:buClr>
        <a:buFont typeface="Lucida Grande"/>
        <a:buChar char="-"/>
        <a:defRPr sz="1600" kern="1200">
          <a:solidFill>
            <a:schemeClr val="tx1"/>
          </a:solidFill>
          <a:latin typeface="Verdana"/>
          <a:ea typeface="+mn-ea"/>
          <a:cs typeface="Verdana"/>
        </a:defRPr>
      </a:lvl2pPr>
      <a:lvl3pPr marL="537587" indent="-167213" algn="l" defTabSz="609585" rtl="0" eaLnBrk="1" latinLnBrk="0" hangingPunct="1">
        <a:spcBef>
          <a:spcPct val="20000"/>
        </a:spcBef>
        <a:buFont typeface="Lucida Grande"/>
        <a:buChar char="-"/>
        <a:defRPr sz="1600" kern="1200">
          <a:solidFill>
            <a:schemeClr val="tx1"/>
          </a:solidFill>
          <a:latin typeface="Verdana"/>
          <a:ea typeface="+mn-ea"/>
          <a:cs typeface="Verdana"/>
        </a:defRPr>
      </a:lvl3pPr>
      <a:lvl4pPr marL="719649" indent="-167213" algn="l" defTabSz="609585" rtl="0" eaLnBrk="1" latinLnBrk="0" hangingPunct="1">
        <a:spcBef>
          <a:spcPct val="20000"/>
        </a:spcBef>
        <a:buFont typeface="Arial"/>
        <a:buChar char="–"/>
        <a:defRPr sz="1467" kern="1200">
          <a:solidFill>
            <a:schemeClr val="tx1"/>
          </a:solidFill>
          <a:latin typeface="Verdana"/>
          <a:ea typeface="+mn-ea"/>
          <a:cs typeface="Verdana"/>
        </a:defRPr>
      </a:lvl4pPr>
      <a:lvl5pPr marL="956709" indent="-237061" algn="l" defTabSz="609585" rtl="0" eaLnBrk="1" latinLnBrk="0" hangingPunct="1">
        <a:spcBef>
          <a:spcPct val="20000"/>
        </a:spcBef>
        <a:buFont typeface="Arial"/>
        <a:buChar char="»"/>
        <a:defRPr sz="1467" kern="1200">
          <a:solidFill>
            <a:schemeClr val="tx1"/>
          </a:solidFill>
          <a:latin typeface="Verdana"/>
          <a:ea typeface="+mn-ea"/>
          <a:cs typeface="Verdana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2935">
          <p15:clr>
            <a:srgbClr val="F26B43"/>
          </p15:clr>
        </p15:guide>
        <p15:guide id="3" orient="horz" pos="1529">
          <p15:clr>
            <a:srgbClr val="F26B43"/>
          </p15:clr>
        </p15:guide>
        <p15:guide id="4" pos="5624">
          <p15:clr>
            <a:srgbClr val="F26B43"/>
          </p15:clr>
        </p15:guide>
        <p15:guide id="5" pos="363">
          <p15:clr>
            <a:srgbClr val="F26B43"/>
          </p15:clr>
        </p15:guide>
        <p15:guide id="6" orient="horz" pos="764">
          <p15:clr>
            <a:srgbClr val="F26B43"/>
          </p15:clr>
        </p15:guide>
        <p15:guide id="7" pos="136">
          <p15:clr>
            <a:srgbClr val="F26B43"/>
          </p15:clr>
        </p15:guide>
        <p15:guide id="8" orient="horz" pos="146">
          <p15:clr>
            <a:srgbClr val="F26B43"/>
          </p15:clr>
        </p15:guide>
        <p15:guide id="9" pos="2980">
          <p15:clr>
            <a:srgbClr val="F26B43"/>
          </p15:clr>
        </p15:guide>
        <p15:guide id="10" orient="horz" pos="2799">
          <p15:clr>
            <a:srgbClr val="F26B43"/>
          </p15:clr>
        </p15:guide>
        <p15:guide id="11" orient="horz" pos="5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479B63-1DE2-4247-9340-A3C17F519D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5811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479B63-1DE2-4247-9340-A3C17F51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Södertelge VBK - Volleyboll - IdrottOnline Klubb">
            <a:extLst>
              <a:ext uri="{FF2B5EF4-FFF2-40B4-BE49-F238E27FC236}">
                <a16:creationId xmlns:a16="http://schemas.microsoft.com/office/drawing/2014/main" id="{7898EB4C-A49B-41B9-8D58-9696F1E9A3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217" y="2107407"/>
            <a:ext cx="3877020" cy="3000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FE7C984-0784-40A3-8175-A8DE82DBBD7A}"/>
              </a:ext>
            </a:extLst>
          </p:cNvPr>
          <p:cNvSpPr txBox="1"/>
          <p:nvPr/>
        </p:nvSpPr>
        <p:spPr>
          <a:xfrm>
            <a:off x="6096001" y="2136456"/>
            <a:ext cx="2622223" cy="822325"/>
          </a:xfrm>
          <a:prstGeom prst="rect">
            <a:avLst/>
          </a:prstGeom>
          <a:solidFill>
            <a:srgbClr val="0F6B35"/>
          </a:solidFill>
        </p:spPr>
        <p:txBody>
          <a:bodyPr wrap="square" rtlCol="0">
            <a:no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#0F6B3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BB8A1D-F4C0-4609-BECF-CA9B956306E1}"/>
              </a:ext>
            </a:extLst>
          </p:cNvPr>
          <p:cNvSpPr txBox="1"/>
          <p:nvPr/>
        </p:nvSpPr>
        <p:spPr>
          <a:xfrm>
            <a:off x="762000" y="1628776"/>
            <a:ext cx="1773810" cy="63658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sv-SE" b="1" dirty="0"/>
              <a:t>Logg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E2B26A-5432-13DF-DA30-15C8D72155CE}"/>
              </a:ext>
            </a:extLst>
          </p:cNvPr>
          <p:cNvSpPr txBox="1"/>
          <p:nvPr/>
        </p:nvSpPr>
        <p:spPr>
          <a:xfrm>
            <a:off x="6096001" y="3193829"/>
            <a:ext cx="2622223" cy="822325"/>
          </a:xfrm>
          <a:prstGeom prst="rect">
            <a:avLst/>
          </a:prstGeom>
          <a:solidFill>
            <a:srgbClr val="FAC814"/>
          </a:solidFill>
        </p:spPr>
        <p:txBody>
          <a:bodyPr wrap="square" rtlCol="0">
            <a:noAutofit/>
          </a:bodyPr>
          <a:lstStyle/>
          <a:p>
            <a:r>
              <a:rPr lang="sv-SE" dirty="0"/>
              <a:t>#FAC81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E598BA-1BE1-FB15-E5A4-E6BB10F560F8}"/>
              </a:ext>
            </a:extLst>
          </p:cNvPr>
          <p:cNvSpPr txBox="1"/>
          <p:nvPr/>
        </p:nvSpPr>
        <p:spPr>
          <a:xfrm>
            <a:off x="6096000" y="4251202"/>
            <a:ext cx="2622223" cy="82232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noAutofit/>
          </a:bodyPr>
          <a:lstStyle/>
          <a:p>
            <a:r>
              <a:rPr lang="sv-SE">
                <a:solidFill>
                  <a:schemeClr val="bg1"/>
                </a:solidFill>
              </a:rPr>
              <a:t>#000000</a:t>
            </a:r>
            <a:endParaRPr lang="sv-S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227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2.18754100000000040183E+00&quot;&gt;&lt;m_msothmcolidx val=&quot;0&quot;/&gt;&lt;m_rgb r=&quot;FA&quot; g=&quot;C7&quot; b=&quot;12&quot;/&gt;&lt;/elem&gt;&lt;elem m_fUsage=&quot;1.31949000000000005173E+00&quot;&gt;&lt;m_msothmcolidx val=&quot;0&quot;/&gt;&lt;m_rgb r=&quot;01&quot; g=&quot;67&quot; b=&quot;2C&quot;/&gt;&lt;/elem&gt;&lt;elem m_fUsage=&quot;9.00000000000000022204E-01&quot;&gt;&lt;m_msothmcolidx val=&quot;0&quot;/&gt;&lt;m_rgb r=&quot;07&quot; g=&quot;69&quot; b=&quot;31&quot;/&gt;&lt;/elem&gt;&lt;elem m_fUsage=&quot;8.10000000000000053291E-01&quot;&gt;&lt;m_msothmcolidx val=&quot;0&quot;/&gt;&lt;m_rgb r=&quot;08&quot; g=&quot;6A&quot; b=&quot;31&quot;/&gt;&lt;/elem&gt;&lt;elem m_fUsage=&quot;4.78296900000000135833E-01&quot;&gt;&lt;m_msothmcolidx val=&quot;0&quot;/&gt;&lt;m_rgb r=&quot;0E&quot; g=&quot;6B&quot; b=&quot;35&quot;/&gt;&lt;/elem&gt;&lt;elem m_fUsage=&quot;4.30467210000000155556E-01&quot;&gt;&lt;m_msothmcolidx val=&quot;0&quot;/&gt;&lt;m_rgb r=&quot;0E&quot; g=&quot;6A&quot; b=&quot;35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mpany 2021">
  <a:themeElements>
    <a:clrScheme name="Company 202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DF4E6"/>
      </a:accent1>
      <a:accent2>
        <a:srgbClr val="F5E4C7"/>
      </a:accent2>
      <a:accent3>
        <a:srgbClr val="E8F3E1"/>
      </a:accent3>
      <a:accent4>
        <a:srgbClr val="C6E7C1"/>
      </a:accent4>
      <a:accent5>
        <a:srgbClr val="DA291C"/>
      </a:accent5>
      <a:accent6>
        <a:srgbClr val="BF0900"/>
      </a:accent6>
      <a:hlink>
        <a:srgbClr val="BF0900"/>
      </a:hlink>
      <a:folHlink>
        <a:srgbClr val="5B462B"/>
      </a:folHlink>
    </a:clrScheme>
    <a:fontScheme name="Folio">
      <a:majorFont>
        <a:latin typeface="Verdana"/>
        <a:ea typeface=""/>
        <a:cs typeface=""/>
        <a:font script="Jpan" typeface="ＭＳ 明朝"/>
        <a:font script="Hans" typeface="宋体"/>
        <a:font script="Hant" typeface="新細明體"/>
      </a:majorFont>
      <a:minorFont>
        <a:latin typeface="Verdana"/>
        <a:ea typeface=""/>
        <a:cs typeface=""/>
        <a:font script="Jpan" typeface="ＭＳ 明朝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1Mal SPP.potx" id="{2163A14D-399B-4DE7-8D66-73A67FEDB095}" vid="{B8E3100E-5B6F-4498-9D8E-6774F254DB9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7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Lucida Grande</vt:lpstr>
      <vt:lpstr>Verdana</vt:lpstr>
      <vt:lpstr>Office Theme</vt:lpstr>
      <vt:lpstr>Company 2021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ndgren Gestlöf, Johanna</dc:creator>
  <cp:lastModifiedBy>Lundgren Gestlöf, Johanna</cp:lastModifiedBy>
  <cp:revision>2</cp:revision>
  <dcterms:created xsi:type="dcterms:W3CDTF">2021-11-29T17:05:32Z</dcterms:created>
  <dcterms:modified xsi:type="dcterms:W3CDTF">2023-03-08T16:4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c3d8a03-6c4f-48cf-a1a6-1b38e749645c_Enabled">
    <vt:lpwstr>true</vt:lpwstr>
  </property>
  <property fmtid="{D5CDD505-2E9C-101B-9397-08002B2CF9AE}" pid="3" name="MSIP_Label_8c3d8a03-6c4f-48cf-a1a6-1b38e749645c_SetDate">
    <vt:lpwstr>2021-11-29T17:05:33Z</vt:lpwstr>
  </property>
  <property fmtid="{D5CDD505-2E9C-101B-9397-08002B2CF9AE}" pid="4" name="MSIP_Label_8c3d8a03-6c4f-48cf-a1a6-1b38e749645c_Method">
    <vt:lpwstr>Standard</vt:lpwstr>
  </property>
  <property fmtid="{D5CDD505-2E9C-101B-9397-08002B2CF9AE}" pid="5" name="MSIP_Label_8c3d8a03-6c4f-48cf-a1a6-1b38e749645c_Name">
    <vt:lpwstr>Internal</vt:lpwstr>
  </property>
  <property fmtid="{D5CDD505-2E9C-101B-9397-08002B2CF9AE}" pid="6" name="MSIP_Label_8c3d8a03-6c4f-48cf-a1a6-1b38e749645c_SiteId">
    <vt:lpwstr>44b5383f-aeed-4959-a674-24d907b93966</vt:lpwstr>
  </property>
  <property fmtid="{D5CDD505-2E9C-101B-9397-08002B2CF9AE}" pid="7" name="MSIP_Label_8c3d8a03-6c4f-48cf-a1a6-1b38e749645c_ActionId">
    <vt:lpwstr>0ac7d3ed-f382-47e4-a359-81df486e3b22</vt:lpwstr>
  </property>
  <property fmtid="{D5CDD505-2E9C-101B-9397-08002B2CF9AE}" pid="8" name="MSIP_Label_8c3d8a03-6c4f-48cf-a1a6-1b38e749645c_ContentBits">
    <vt:lpwstr>0</vt:lpwstr>
  </property>
</Properties>
</file>